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38" r:id="rId2"/>
    <p:sldMasterId id="2147483752" r:id="rId3"/>
    <p:sldMasterId id="2147483766" r:id="rId4"/>
    <p:sldMasterId id="2147483794" r:id="rId5"/>
    <p:sldMasterId id="2147483822" r:id="rId6"/>
    <p:sldMasterId id="2147483836" r:id="rId7"/>
  </p:sldMasterIdLst>
  <p:notesMasterIdLst>
    <p:notesMasterId r:id="rId18"/>
  </p:notesMasterIdLst>
  <p:sldIdLst>
    <p:sldId id="596" r:id="rId8"/>
    <p:sldId id="783" r:id="rId9"/>
    <p:sldId id="784" r:id="rId10"/>
    <p:sldId id="785" r:id="rId11"/>
    <p:sldId id="863" r:id="rId12"/>
    <p:sldId id="868" r:id="rId13"/>
    <p:sldId id="869" r:id="rId14"/>
    <p:sldId id="871" r:id="rId15"/>
    <p:sldId id="872" r:id="rId16"/>
    <p:sldId id="601" r:id="rId1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eeting ENAC" id="{3EAFDC87-6464-44BF-B302-A31A330E4705}">
          <p14:sldIdLst>
            <p14:sldId id="596"/>
            <p14:sldId id="783"/>
            <p14:sldId id="784"/>
            <p14:sldId id="785"/>
            <p14:sldId id="863"/>
            <p14:sldId id="868"/>
            <p14:sldId id="869"/>
            <p14:sldId id="871"/>
            <p14:sldId id="872"/>
            <p14:sldId id="60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3370"/>
    <a:srgbClr val="F2F2F2"/>
    <a:srgbClr val="FDB810"/>
    <a:srgbClr val="D6D6D6"/>
    <a:srgbClr val="82BC26"/>
    <a:srgbClr val="3D4442"/>
    <a:srgbClr val="D0D0D0"/>
    <a:srgbClr val="70B303"/>
    <a:srgbClr val="A5A5A5"/>
    <a:srgbClr val="EEF0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Stile chi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0A1B5D5-9B99-4C35-A422-299274C87663}" styleName="Stile medio 1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E3FDE45-AF77-4B5C-9715-49D594BDF05E}" styleName="Stile chiaro 1 - Color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4C1A8A3-306A-4EB7-A6B1-4F7E0EB9C5D6}" styleName="Stile medio 3 - Colore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Stile medio 1 - Color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12C8C85-51F0-491E-9774-3900AFEF0FD7}" styleName="Stile chiaro 2 - Color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16DA210-FB5B-4158-B5E0-FEB733F419BA}" styleName="Stile chi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Stile chiaro 1 - Color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ile chiaro 3 - Color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ile chiaro 2 - Color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35" autoAdjust="0"/>
    <p:restoredTop sz="94248" autoAdjust="0"/>
  </p:normalViewPr>
  <p:slideViewPr>
    <p:cSldViewPr snapToGrid="0">
      <p:cViewPr varScale="1">
        <p:scale>
          <a:sx n="78" d="100"/>
          <a:sy n="78" d="100"/>
        </p:scale>
        <p:origin x="96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20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81F2AC-B7E6-498F-AB46-0E6FF96EDF64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4BA62A-264E-4BF5-969B-9284D766DDE6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25341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4BA62A-264E-4BF5-969B-9284D766DDE6}" type="slidenum">
              <a:rPr lang="it-IT" smtClean="0"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1378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4BA62A-264E-4BF5-969B-9284D766DDE6}" type="slidenum">
              <a:rPr lang="it-IT" smtClean="0"/>
              <a:t>10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86618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9540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4365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827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1855" y="2130426"/>
            <a:ext cx="10776966" cy="1470025"/>
          </a:xfrm>
        </p:spPr>
        <p:txBody>
          <a:bodyPr/>
          <a:lstStyle>
            <a:lvl1pPr>
              <a:defRPr>
                <a:solidFill>
                  <a:srgbClr val="3D699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1810" y="3886200"/>
            <a:ext cx="10777012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7792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1809" y="985636"/>
            <a:ext cx="10777012" cy="5429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478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08" y="4406901"/>
            <a:ext cx="10777013" cy="1362075"/>
          </a:xfrm>
        </p:spPr>
        <p:txBody>
          <a:bodyPr anchor="t">
            <a:normAutofit/>
          </a:bodyPr>
          <a:lstStyle>
            <a:lvl1pPr algn="l">
              <a:defRPr sz="3200" b="0" cap="none" baseline="0">
                <a:solidFill>
                  <a:srgbClr val="3D699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8" y="2906713"/>
            <a:ext cx="1077701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639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1809" y="1071546"/>
            <a:ext cx="5172223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071546"/>
            <a:ext cx="5316757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68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776" y="71414"/>
            <a:ext cx="10765971" cy="76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776" y="1071546"/>
            <a:ext cx="5244264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1776" y="1711308"/>
            <a:ext cx="5244264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3" y="1071546"/>
            <a:ext cx="530568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3" y="1711308"/>
            <a:ext cx="5305683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20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467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621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930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4104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971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4261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410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00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78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1855" y="2130426"/>
            <a:ext cx="10776966" cy="1470025"/>
          </a:xfrm>
        </p:spPr>
        <p:txBody>
          <a:bodyPr/>
          <a:lstStyle>
            <a:lvl1pPr>
              <a:defRPr>
                <a:solidFill>
                  <a:srgbClr val="3D699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1810" y="3886200"/>
            <a:ext cx="10777012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17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1809" y="985636"/>
            <a:ext cx="10777012" cy="5429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281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08" y="4406901"/>
            <a:ext cx="10777013" cy="1362075"/>
          </a:xfrm>
        </p:spPr>
        <p:txBody>
          <a:bodyPr anchor="t">
            <a:normAutofit/>
          </a:bodyPr>
          <a:lstStyle>
            <a:lvl1pPr algn="l">
              <a:defRPr sz="3200" b="0" cap="none" baseline="0">
                <a:solidFill>
                  <a:srgbClr val="3D699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8" y="2906713"/>
            <a:ext cx="1077701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087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1809" y="1071546"/>
            <a:ext cx="5172223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071546"/>
            <a:ext cx="5316757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7024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776" y="71414"/>
            <a:ext cx="10765971" cy="76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776" y="1071546"/>
            <a:ext cx="5244264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1776" y="1711308"/>
            <a:ext cx="5244264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3" y="1071546"/>
            <a:ext cx="530568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3" y="1711308"/>
            <a:ext cx="5305683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151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6704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7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508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434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4235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176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300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636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87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1855" y="2130426"/>
            <a:ext cx="10776966" cy="1470025"/>
          </a:xfrm>
        </p:spPr>
        <p:txBody>
          <a:bodyPr/>
          <a:lstStyle>
            <a:lvl1pPr>
              <a:defRPr>
                <a:solidFill>
                  <a:srgbClr val="3D699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1810" y="3886200"/>
            <a:ext cx="10777012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2814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1809" y="985636"/>
            <a:ext cx="10777012" cy="5429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543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9297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08" y="4406901"/>
            <a:ext cx="10777013" cy="1362075"/>
          </a:xfrm>
        </p:spPr>
        <p:txBody>
          <a:bodyPr anchor="t">
            <a:normAutofit/>
          </a:bodyPr>
          <a:lstStyle>
            <a:lvl1pPr algn="l">
              <a:defRPr sz="3200" b="0" cap="none" baseline="0">
                <a:solidFill>
                  <a:srgbClr val="3D699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8" y="2906713"/>
            <a:ext cx="1077701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094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1809" y="1071546"/>
            <a:ext cx="5172223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071546"/>
            <a:ext cx="5316757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329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776" y="71414"/>
            <a:ext cx="10765971" cy="76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776" y="1071546"/>
            <a:ext cx="5244264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1776" y="1711308"/>
            <a:ext cx="5244264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3" y="1071546"/>
            <a:ext cx="530568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3" y="1711308"/>
            <a:ext cx="5305683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48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223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552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780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426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971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3622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724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7612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289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1855" y="2130426"/>
            <a:ext cx="10776966" cy="1470025"/>
          </a:xfrm>
        </p:spPr>
        <p:txBody>
          <a:bodyPr/>
          <a:lstStyle>
            <a:lvl1pPr>
              <a:defRPr>
                <a:solidFill>
                  <a:srgbClr val="3D699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1810" y="3886200"/>
            <a:ext cx="10777012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926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1809" y="985636"/>
            <a:ext cx="10777012" cy="5429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97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08" y="4406901"/>
            <a:ext cx="10777013" cy="1362075"/>
          </a:xfrm>
        </p:spPr>
        <p:txBody>
          <a:bodyPr anchor="t">
            <a:normAutofit/>
          </a:bodyPr>
          <a:lstStyle>
            <a:lvl1pPr algn="l">
              <a:defRPr sz="3200" b="0" cap="none" baseline="0">
                <a:solidFill>
                  <a:srgbClr val="3D699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8" y="2906713"/>
            <a:ext cx="1077701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450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1809" y="1071546"/>
            <a:ext cx="5172223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071546"/>
            <a:ext cx="5316757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324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776" y="71414"/>
            <a:ext cx="10765971" cy="76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776" y="1071546"/>
            <a:ext cx="5244264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1776" y="1711308"/>
            <a:ext cx="5244264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3" y="1071546"/>
            <a:ext cx="530568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3" y="1711308"/>
            <a:ext cx="5305683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745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24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514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63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9334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916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630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78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83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761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1855" y="2130426"/>
            <a:ext cx="10776966" cy="1470025"/>
          </a:xfrm>
        </p:spPr>
        <p:txBody>
          <a:bodyPr/>
          <a:lstStyle>
            <a:lvl1pPr>
              <a:defRPr>
                <a:solidFill>
                  <a:srgbClr val="3D699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1810" y="3886200"/>
            <a:ext cx="10777012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872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1809" y="985636"/>
            <a:ext cx="10777012" cy="5429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722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08" y="4406901"/>
            <a:ext cx="10777013" cy="1362075"/>
          </a:xfrm>
        </p:spPr>
        <p:txBody>
          <a:bodyPr anchor="t">
            <a:normAutofit/>
          </a:bodyPr>
          <a:lstStyle>
            <a:lvl1pPr algn="l">
              <a:defRPr sz="3200" b="0" cap="none" baseline="0">
                <a:solidFill>
                  <a:srgbClr val="3D699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8" y="2906713"/>
            <a:ext cx="1077701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093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1809" y="1071546"/>
            <a:ext cx="5172223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071546"/>
            <a:ext cx="5316757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622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776" y="71414"/>
            <a:ext cx="10765971" cy="76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776" y="1071546"/>
            <a:ext cx="5244264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1776" y="1711308"/>
            <a:ext cx="5244264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3" y="1071546"/>
            <a:ext cx="530568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3" y="1711308"/>
            <a:ext cx="5305683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256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366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6677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618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891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29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0805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164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037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02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1855" y="2130426"/>
            <a:ext cx="10776966" cy="1470025"/>
          </a:xfrm>
        </p:spPr>
        <p:txBody>
          <a:bodyPr/>
          <a:lstStyle>
            <a:lvl1pPr>
              <a:defRPr>
                <a:solidFill>
                  <a:srgbClr val="3D699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1810" y="3886200"/>
            <a:ext cx="10777012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823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1809" y="985636"/>
            <a:ext cx="10777012" cy="5429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0243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08" y="4406901"/>
            <a:ext cx="10777013" cy="1362075"/>
          </a:xfrm>
        </p:spPr>
        <p:txBody>
          <a:bodyPr anchor="t">
            <a:normAutofit/>
          </a:bodyPr>
          <a:lstStyle>
            <a:lvl1pPr algn="l">
              <a:defRPr sz="3200" b="0" cap="none" baseline="0">
                <a:solidFill>
                  <a:srgbClr val="3D699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8" y="2906713"/>
            <a:ext cx="1077701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922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2819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1809" y="1071546"/>
            <a:ext cx="5172223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071546"/>
            <a:ext cx="5316757" cy="53578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942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776" y="71414"/>
            <a:ext cx="10765971" cy="76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776" y="1071546"/>
            <a:ext cx="5244264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1776" y="1711308"/>
            <a:ext cx="5244264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3" y="1071546"/>
            <a:ext cx="530568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3" y="1711308"/>
            <a:ext cx="5305683" cy="471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583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628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2982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349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110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333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878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45" y="1000109"/>
            <a:ext cx="6529915" cy="549592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1302" y="3571876"/>
            <a:ext cx="4082610" cy="292895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1809" y="71414"/>
            <a:ext cx="10777012" cy="76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670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1809" y="928670"/>
            <a:ext cx="10777012" cy="55246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4809" y="6565946"/>
            <a:ext cx="714381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1809" y="6565946"/>
            <a:ext cx="9837226" cy="22064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73E1-9645-48F3-9513-6154753BDD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238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7731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5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5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8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5C716F-E789-46BD-A339-EC5FCB375D36}" type="datetimeFigureOut">
              <a:rPr lang="it-IT" smtClean="0"/>
              <a:t>30/11/2018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153A2-6469-44A7-AF9D-064BA89B5EBD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54117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E17D32-4850-476A-803F-F02EA128EA26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1414376" y="6355041"/>
            <a:ext cx="684111" cy="49813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907224"/>
            <a:ext cx="1055440" cy="59508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D9D9D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Rectangle 6"/>
          <p:cNvSpPr/>
          <p:nvPr/>
        </p:nvSpPr>
        <p:spPr>
          <a:xfrm>
            <a:off x="1055440" y="-24"/>
            <a:ext cx="11136603" cy="907200"/>
          </a:xfrm>
          <a:prstGeom prst="rect">
            <a:avLst/>
          </a:prstGeom>
          <a:gradFill>
            <a:gsLst>
              <a:gs pos="0">
                <a:srgbClr val="3D6992"/>
              </a:gs>
              <a:gs pos="100000">
                <a:srgbClr val="86ABCC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1808" y="71414"/>
            <a:ext cx="10777012" cy="76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7" y="1000108"/>
            <a:ext cx="10777013" cy="5429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73732" y="6539923"/>
            <a:ext cx="844536" cy="22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" descr="TCR Logo 72 dpi color 10cm width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70530" y="318076"/>
            <a:ext cx="714380" cy="27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C3606B6-5F2A-44F2-AA3F-8CDE0D2CD35A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8140" b="89535" l="8257" r="92661">
                        <a14:foregroundMark x1="53211" y1="52326" x2="53211" y2="52326"/>
                        <a14:foregroundMark x1="55963" y1="32558" x2="55963" y2="32558"/>
                        <a14:foregroundMark x1="79817" y1="37209" x2="79817" y2="37209"/>
                        <a14:foregroundMark x1="58716" y1="46512" x2="58716" y2="46512"/>
                        <a14:foregroundMark x1="77982" y1="40698" x2="77982" y2="40698"/>
                        <a14:foregroundMark x1="56881" y1="8140" x2="56881" y2="8140"/>
                        <a14:foregroundMark x1="92661" y1="48837" x2="92661" y2="48837"/>
                        <a14:backgroundMark x1="95413" y1="48837" x2="95413" y2="48837"/>
                        <a14:backgroundMark x1="94495" y1="48837" x2="94495" y2="4883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513" y="6355041"/>
            <a:ext cx="655782" cy="50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694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w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E17D32-4850-476A-803F-F02EA128EA26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1414376" y="6355041"/>
            <a:ext cx="684111" cy="49813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907224"/>
            <a:ext cx="1055440" cy="59508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D9D9D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Rectangle 6"/>
          <p:cNvSpPr/>
          <p:nvPr/>
        </p:nvSpPr>
        <p:spPr>
          <a:xfrm>
            <a:off x="1055440" y="-24"/>
            <a:ext cx="11136603" cy="907200"/>
          </a:xfrm>
          <a:prstGeom prst="rect">
            <a:avLst/>
          </a:prstGeom>
          <a:gradFill>
            <a:gsLst>
              <a:gs pos="0">
                <a:srgbClr val="3D6992"/>
              </a:gs>
              <a:gs pos="100000">
                <a:srgbClr val="86ABCC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1808" y="71414"/>
            <a:ext cx="10777012" cy="76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7" y="1000108"/>
            <a:ext cx="10777013" cy="5429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73732" y="6539923"/>
            <a:ext cx="844536" cy="22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" descr="TCR Logo 72 dpi color 10cm width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70530" y="318076"/>
            <a:ext cx="714380" cy="27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C3606B6-5F2A-44F2-AA3F-8CDE0D2CD35A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8140" b="89535" l="8257" r="92661">
                        <a14:foregroundMark x1="53211" y1="52326" x2="53211" y2="52326"/>
                        <a14:foregroundMark x1="55963" y1="32558" x2="55963" y2="32558"/>
                        <a14:foregroundMark x1="79817" y1="37209" x2="79817" y2="37209"/>
                        <a14:foregroundMark x1="58716" y1="46512" x2="58716" y2="46512"/>
                        <a14:foregroundMark x1="77982" y1="40698" x2="77982" y2="40698"/>
                        <a14:foregroundMark x1="56881" y1="8140" x2="56881" y2="8140"/>
                        <a14:foregroundMark x1="92661" y1="48837" x2="92661" y2="48837"/>
                        <a14:backgroundMark x1="95413" y1="48837" x2="95413" y2="48837"/>
                        <a14:backgroundMark x1="94495" y1="48837" x2="94495" y2="4883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513" y="6355041"/>
            <a:ext cx="655782" cy="50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39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w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E17D32-4850-476A-803F-F02EA128EA26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1414376" y="6355041"/>
            <a:ext cx="684111" cy="49813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907224"/>
            <a:ext cx="1055440" cy="59508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D9D9D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Rectangle 6"/>
          <p:cNvSpPr/>
          <p:nvPr/>
        </p:nvSpPr>
        <p:spPr>
          <a:xfrm>
            <a:off x="1055440" y="-24"/>
            <a:ext cx="11136603" cy="907200"/>
          </a:xfrm>
          <a:prstGeom prst="rect">
            <a:avLst/>
          </a:prstGeom>
          <a:gradFill>
            <a:gsLst>
              <a:gs pos="0">
                <a:srgbClr val="3D6992"/>
              </a:gs>
              <a:gs pos="100000">
                <a:srgbClr val="86ABCC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1808" y="71414"/>
            <a:ext cx="10777012" cy="76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7" y="1000108"/>
            <a:ext cx="10777013" cy="5429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73732" y="6539923"/>
            <a:ext cx="844536" cy="22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" descr="TCR Logo 72 dpi color 10cm width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70530" y="318076"/>
            <a:ext cx="714380" cy="27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C3606B6-5F2A-44F2-AA3F-8CDE0D2CD35A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8140" b="89535" l="8257" r="92661">
                        <a14:foregroundMark x1="53211" y1="52326" x2="53211" y2="52326"/>
                        <a14:foregroundMark x1="55963" y1="32558" x2="55963" y2="32558"/>
                        <a14:foregroundMark x1="79817" y1="37209" x2="79817" y2="37209"/>
                        <a14:foregroundMark x1="58716" y1="46512" x2="58716" y2="46512"/>
                        <a14:foregroundMark x1="77982" y1="40698" x2="77982" y2="40698"/>
                        <a14:foregroundMark x1="56881" y1="8140" x2="56881" y2="8140"/>
                        <a14:foregroundMark x1="92661" y1="48837" x2="92661" y2="48837"/>
                        <a14:backgroundMark x1="95413" y1="48837" x2="95413" y2="48837"/>
                        <a14:backgroundMark x1="94495" y1="48837" x2="94495" y2="4883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513" y="6355041"/>
            <a:ext cx="655782" cy="50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526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w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E17D32-4850-476A-803F-F02EA128EA26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1414376" y="6355041"/>
            <a:ext cx="684111" cy="49813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907224"/>
            <a:ext cx="1055440" cy="59508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D9D9D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Rectangle 6"/>
          <p:cNvSpPr/>
          <p:nvPr/>
        </p:nvSpPr>
        <p:spPr>
          <a:xfrm>
            <a:off x="1055440" y="-24"/>
            <a:ext cx="11136603" cy="907200"/>
          </a:xfrm>
          <a:prstGeom prst="rect">
            <a:avLst/>
          </a:prstGeom>
          <a:gradFill>
            <a:gsLst>
              <a:gs pos="0">
                <a:srgbClr val="3D6992"/>
              </a:gs>
              <a:gs pos="100000">
                <a:srgbClr val="86ABCC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1808" y="71414"/>
            <a:ext cx="10777012" cy="76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7" y="1000108"/>
            <a:ext cx="10777013" cy="5429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73732" y="6539923"/>
            <a:ext cx="844536" cy="22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" descr="TCR Logo 72 dpi color 10cm width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70530" y="318076"/>
            <a:ext cx="714380" cy="27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C3606B6-5F2A-44F2-AA3F-8CDE0D2CD35A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8140" b="89535" l="8257" r="92661">
                        <a14:foregroundMark x1="53211" y1="52326" x2="53211" y2="52326"/>
                        <a14:foregroundMark x1="55963" y1="32558" x2="55963" y2="32558"/>
                        <a14:foregroundMark x1="79817" y1="37209" x2="79817" y2="37209"/>
                        <a14:foregroundMark x1="58716" y1="46512" x2="58716" y2="46512"/>
                        <a14:foregroundMark x1="77982" y1="40698" x2="77982" y2="40698"/>
                        <a14:foregroundMark x1="56881" y1="8140" x2="56881" y2="8140"/>
                        <a14:foregroundMark x1="92661" y1="48837" x2="92661" y2="48837"/>
                        <a14:backgroundMark x1="95413" y1="48837" x2="95413" y2="48837"/>
                        <a14:backgroundMark x1="94495" y1="48837" x2="94495" y2="4883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513" y="6355041"/>
            <a:ext cx="655782" cy="50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370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w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E17D32-4850-476A-803F-F02EA128EA26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1414376" y="6355041"/>
            <a:ext cx="684111" cy="49813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907224"/>
            <a:ext cx="1055440" cy="59508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D9D9D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Rectangle 6"/>
          <p:cNvSpPr/>
          <p:nvPr/>
        </p:nvSpPr>
        <p:spPr>
          <a:xfrm>
            <a:off x="1055440" y="-24"/>
            <a:ext cx="11136603" cy="907200"/>
          </a:xfrm>
          <a:prstGeom prst="rect">
            <a:avLst/>
          </a:prstGeom>
          <a:gradFill>
            <a:gsLst>
              <a:gs pos="0">
                <a:srgbClr val="3D6992"/>
              </a:gs>
              <a:gs pos="100000">
                <a:srgbClr val="86ABCC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1808" y="71414"/>
            <a:ext cx="10777012" cy="76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7" y="1000108"/>
            <a:ext cx="10777013" cy="5429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73732" y="6539923"/>
            <a:ext cx="844536" cy="22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" descr="TCR Logo 72 dpi color 10cm width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70530" y="318076"/>
            <a:ext cx="714380" cy="27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C3606B6-5F2A-44F2-AA3F-8CDE0D2CD35A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8140" b="89535" l="8257" r="92661">
                        <a14:foregroundMark x1="53211" y1="52326" x2="53211" y2="52326"/>
                        <a14:foregroundMark x1="55963" y1="32558" x2="55963" y2="32558"/>
                        <a14:foregroundMark x1="79817" y1="37209" x2="79817" y2="37209"/>
                        <a14:foregroundMark x1="58716" y1="46512" x2="58716" y2="46512"/>
                        <a14:foregroundMark x1="77982" y1="40698" x2="77982" y2="40698"/>
                        <a14:foregroundMark x1="56881" y1="8140" x2="56881" y2="8140"/>
                        <a14:foregroundMark x1="92661" y1="48837" x2="92661" y2="48837"/>
                        <a14:backgroundMark x1="95413" y1="48837" x2="95413" y2="48837"/>
                        <a14:backgroundMark x1="94495" y1="48837" x2="94495" y2="4883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513" y="6355041"/>
            <a:ext cx="655782" cy="50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718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w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E17D32-4850-476A-803F-F02EA128EA26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1414376" y="6355041"/>
            <a:ext cx="684111" cy="49813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907224"/>
            <a:ext cx="1055440" cy="59508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D9D9D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Rectangle 6"/>
          <p:cNvSpPr/>
          <p:nvPr/>
        </p:nvSpPr>
        <p:spPr>
          <a:xfrm>
            <a:off x="1055440" y="-24"/>
            <a:ext cx="11136603" cy="907200"/>
          </a:xfrm>
          <a:prstGeom prst="rect">
            <a:avLst/>
          </a:prstGeom>
          <a:gradFill>
            <a:gsLst>
              <a:gs pos="0">
                <a:srgbClr val="3D6992"/>
              </a:gs>
              <a:gs pos="100000">
                <a:srgbClr val="86ABCC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1808" y="71414"/>
            <a:ext cx="10777012" cy="76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1807" y="1000108"/>
            <a:ext cx="10777013" cy="5429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73732" y="6539923"/>
            <a:ext cx="844536" cy="22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773E1-9645-48F3-9513-6154753BDDA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" descr="TCR Logo 72 dpi color 10cm width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70530" y="318076"/>
            <a:ext cx="714380" cy="27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C3606B6-5F2A-44F2-AA3F-8CDE0D2CD35A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8140" b="89535" l="8257" r="92661">
                        <a14:foregroundMark x1="53211" y1="52326" x2="53211" y2="52326"/>
                        <a14:foregroundMark x1="55963" y1="32558" x2="55963" y2="32558"/>
                        <a14:foregroundMark x1="79817" y1="37209" x2="79817" y2="37209"/>
                        <a14:foregroundMark x1="58716" y1="46512" x2="58716" y2="46512"/>
                        <a14:foregroundMark x1="77982" y1="40698" x2="77982" y2="40698"/>
                        <a14:foregroundMark x1="56881" y1="8140" x2="56881" y2="8140"/>
                        <a14:foregroundMark x1="92661" y1="48837" x2="92661" y2="48837"/>
                        <a14:backgroundMark x1="95413" y1="48837" x2="95413" y2="48837"/>
                        <a14:backgroundMark x1="94495" y1="48837" x2="94495" y2="4883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513" y="6355041"/>
            <a:ext cx="655782" cy="50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w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slideLayout" Target="../slideLayouts/slideLayout39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0" Type="http://schemas.openxmlformats.org/officeDocument/2006/relationships/tags" Target="../tags/tag240.xml"/><Relationship Id="rId245" Type="http://schemas.openxmlformats.org/officeDocument/2006/relationships/tags" Target="../tags/tag245.xml"/><Relationship Id="rId261" Type="http://schemas.openxmlformats.org/officeDocument/2006/relationships/tags" Target="../tags/tag261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282" Type="http://schemas.openxmlformats.org/officeDocument/2006/relationships/tags" Target="../tags/tag282.xml"/><Relationship Id="rId312" Type="http://schemas.openxmlformats.org/officeDocument/2006/relationships/tags" Target="../tags/tag312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189" Type="http://schemas.openxmlformats.org/officeDocument/2006/relationships/tags" Target="../tags/tag189.xml"/><Relationship Id="rId219" Type="http://schemas.openxmlformats.org/officeDocument/2006/relationships/tags" Target="../tags/tag21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0" Type="http://schemas.openxmlformats.org/officeDocument/2006/relationships/tags" Target="../tags/tag230.xml"/><Relationship Id="rId235" Type="http://schemas.openxmlformats.org/officeDocument/2006/relationships/tags" Target="../tags/tag235.xml"/><Relationship Id="rId251" Type="http://schemas.openxmlformats.org/officeDocument/2006/relationships/tags" Target="../tags/tag251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2" Type="http://schemas.openxmlformats.org/officeDocument/2006/relationships/tags" Target="../tags/tag302.xml"/><Relationship Id="rId307" Type="http://schemas.openxmlformats.org/officeDocument/2006/relationships/tags" Target="../tags/tag30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79" Type="http://schemas.openxmlformats.org/officeDocument/2006/relationships/tags" Target="../tags/tag179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0" Type="http://schemas.openxmlformats.org/officeDocument/2006/relationships/tags" Target="../tags/tag220.xml"/><Relationship Id="rId225" Type="http://schemas.openxmlformats.org/officeDocument/2006/relationships/tags" Target="../tags/tag225.xml"/><Relationship Id="rId241" Type="http://schemas.openxmlformats.org/officeDocument/2006/relationships/tags" Target="../tags/tag241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7.png"/><Relationship Id="rId4" Type="http://schemas.openxmlformats.org/officeDocument/2006/relationships/image" Target="../media/image16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474" b="16339"/>
          <a:stretch/>
        </p:blipFill>
        <p:spPr>
          <a:xfrm>
            <a:off x="1906286" y="-97974"/>
            <a:ext cx="10291157" cy="6955974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78D3A447-2D15-43E8-BC82-26668A5AAD3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49"/>
          <a:stretch/>
        </p:blipFill>
        <p:spPr>
          <a:xfrm>
            <a:off x="1588" y="601466"/>
            <a:ext cx="3981522" cy="6256534"/>
          </a:xfrm>
          <a:prstGeom prst="rect">
            <a:avLst/>
          </a:prstGeom>
          <a:effectLst>
            <a:outerShdw blurRad="139700" dist="76200" dir="2700000" algn="tl" rotWithShape="0">
              <a:prstClr val="black">
                <a:alpha val="9000"/>
              </a:prstClr>
            </a:outerShdw>
            <a:reflection endPos="0" dist="50800" dir="5400000" sy="-100000" algn="bl" rotWithShape="0"/>
          </a:effectLst>
        </p:spPr>
      </p:pic>
      <p:sp>
        <p:nvSpPr>
          <p:cNvPr id="8" name="CasellaDiTesto 7"/>
          <p:cNvSpPr txBox="1"/>
          <p:nvPr/>
        </p:nvSpPr>
        <p:spPr>
          <a:xfrm>
            <a:off x="299375" y="6430168"/>
            <a:ext cx="26868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1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" charset="0"/>
                <a:ea typeface="Roboto Condensed" charset="0"/>
                <a:cs typeface="Roboto Condensed" charset="0"/>
              </a:rPr>
              <a:t>CONFIDENTIAL</a:t>
            </a:r>
          </a:p>
        </p:txBody>
      </p:sp>
      <p:sp>
        <p:nvSpPr>
          <p:cNvPr id="16" name="Titolo 1"/>
          <p:cNvSpPr txBox="1">
            <a:spLocks/>
          </p:cNvSpPr>
          <p:nvPr/>
        </p:nvSpPr>
        <p:spPr>
          <a:xfrm>
            <a:off x="4962115" y="614586"/>
            <a:ext cx="2668933" cy="946850"/>
          </a:xfrm>
          <a:prstGeom prst="rect">
            <a:avLst/>
          </a:prstGeom>
        </p:spPr>
        <p:txBody>
          <a:bodyPr vert="horz" lIns="121888" tIns="60944" rIns="121888" bIns="60944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70000"/>
              </a:lnSpc>
            </a:pPr>
            <a:r>
              <a:rPr lang="it-IT" sz="2400" spc="300" dirty="0">
                <a:solidFill>
                  <a:srgbClr val="3D4442"/>
                </a:solidFill>
                <a:latin typeface="Roboto Condensed" charset="0"/>
                <a:ea typeface="Roboto Condensed" charset="0"/>
                <a:cs typeface="Roboto Condensed" charset="0"/>
              </a:rPr>
              <a:t>Group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3517945" y="2521406"/>
            <a:ext cx="6767769" cy="12900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70000"/>
              </a:lnSpc>
            </a:pPr>
            <a:r>
              <a:rPr lang="it-IT" sz="1600" spc="300" dirty="0">
                <a:solidFill>
                  <a:srgbClr val="0D3370"/>
                </a:solidFill>
                <a:latin typeface="Roboto Condensed" charset="0"/>
                <a:ea typeface="Roboto Condensed" charset="0"/>
                <a:cs typeface="Roboto Condensed" charset="0"/>
              </a:rPr>
              <a:t>Dott. Jan De Leeuw – Amministratore Gruppo TCR</a:t>
            </a:r>
          </a:p>
          <a:p>
            <a:pPr algn="just">
              <a:lnSpc>
                <a:spcPct val="170000"/>
              </a:lnSpc>
            </a:pPr>
            <a:r>
              <a:rPr lang="it-IT" sz="1600" spc="300" dirty="0">
                <a:solidFill>
                  <a:schemeClr val="bg1">
                    <a:lumMod val="50000"/>
                  </a:schemeClr>
                </a:solidFill>
                <a:latin typeface="Roboto Condensed" charset="0"/>
                <a:ea typeface="Roboto Condensed" charset="0"/>
                <a:cs typeface="Roboto Condensed" charset="0"/>
              </a:rPr>
              <a:t>Corso di formazione Demetra – Enac</a:t>
            </a:r>
          </a:p>
          <a:p>
            <a:pPr algn="just">
              <a:lnSpc>
                <a:spcPct val="170000"/>
              </a:lnSpc>
            </a:pPr>
            <a:r>
              <a:rPr lang="it-IT" sz="1600" spc="300" dirty="0">
                <a:solidFill>
                  <a:schemeClr val="bg1">
                    <a:lumMod val="50000"/>
                  </a:schemeClr>
                </a:solidFill>
                <a:latin typeface="Roboto Condensed" charset="0"/>
                <a:ea typeface="Roboto Condensed" charset="0"/>
                <a:cs typeface="Roboto Condensed" charset="0"/>
              </a:rPr>
              <a:t>Roma, 3 Dicembre 2018</a:t>
            </a:r>
          </a:p>
        </p:txBody>
      </p:sp>
      <p:pic>
        <p:nvPicPr>
          <p:cNvPr id="19" name="Immagine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9198" y="876912"/>
            <a:ext cx="1410221" cy="56408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AD53F18-5409-4550-BD52-192C029C1EFE}"/>
              </a:ext>
            </a:extLst>
          </p:cNvPr>
          <p:cNvSpPr txBox="1"/>
          <p:nvPr/>
        </p:nvSpPr>
        <p:spPr>
          <a:xfrm>
            <a:off x="6366108" y="6172920"/>
            <a:ext cx="5750627" cy="369332"/>
          </a:xfrm>
          <a:prstGeom prst="rect">
            <a:avLst/>
          </a:prstGeom>
          <a:solidFill>
            <a:srgbClr val="F2F2F2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 partnership con:                                     &amp;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37527EA-4DB0-475F-8AD0-76D84255BF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4726" y="6136343"/>
            <a:ext cx="1706095" cy="442486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73" b="36394"/>
          <a:stretch/>
        </p:blipFill>
        <p:spPr>
          <a:xfrm>
            <a:off x="8278245" y="6151101"/>
            <a:ext cx="1859859" cy="412970"/>
          </a:xfrm>
          <a:prstGeom prst="rect">
            <a:avLst/>
          </a:prstGeom>
          <a:effectLst/>
        </p:spPr>
      </p:pic>
      <p:sp>
        <p:nvSpPr>
          <p:cNvPr id="13" name="Rettangolo 17">
            <a:extLst>
              <a:ext uri="{FF2B5EF4-FFF2-40B4-BE49-F238E27FC236}">
                <a16:creationId xmlns:a16="http://schemas.microsoft.com/office/drawing/2014/main" id="{EE1703A5-B913-41A1-984F-F8AB83A09415}"/>
              </a:ext>
            </a:extLst>
          </p:cNvPr>
          <p:cNvSpPr/>
          <p:nvPr/>
        </p:nvSpPr>
        <p:spPr>
          <a:xfrm>
            <a:off x="3887368" y="1418347"/>
            <a:ext cx="4957479" cy="968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70000"/>
              </a:lnSpc>
            </a:pPr>
            <a:r>
              <a:rPr lang="it-IT" b="1" spc="300" dirty="0">
                <a:solidFill>
                  <a:srgbClr val="0D3370"/>
                </a:solidFill>
                <a:latin typeface="Roboto Condensed" charset="0"/>
                <a:ea typeface="Roboto Condensed" charset="0"/>
                <a:cs typeface="Roboto Condensed" charset="0"/>
              </a:rPr>
              <a:t>TELEMATICA E SMART MOBILITY NELL’HANDLING</a:t>
            </a:r>
          </a:p>
        </p:txBody>
      </p:sp>
    </p:spTree>
    <p:extLst>
      <p:ext uri="{BB962C8B-B14F-4D97-AF65-F5344CB8AC3E}">
        <p14:creationId xmlns:p14="http://schemas.microsoft.com/office/powerpoint/2010/main" val="93084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962" y="0"/>
            <a:ext cx="8582038" cy="685800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78D3A447-2D15-43E8-BC82-26668A5AAD3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49"/>
          <a:stretch/>
        </p:blipFill>
        <p:spPr>
          <a:xfrm>
            <a:off x="1588" y="601466"/>
            <a:ext cx="3981522" cy="6256534"/>
          </a:xfrm>
          <a:prstGeom prst="rect">
            <a:avLst/>
          </a:prstGeom>
          <a:effectLst>
            <a:outerShdw blurRad="139700" dist="76200" dir="2700000" algn="tl" rotWithShape="0">
              <a:prstClr val="black">
                <a:alpha val="9000"/>
              </a:prstClr>
            </a:outerShdw>
            <a:reflection endPos="0" dist="50800" dir="5400000" sy="-100000" algn="bl" rotWithShape="0"/>
          </a:effectLst>
        </p:spPr>
      </p:pic>
      <p:sp>
        <p:nvSpPr>
          <p:cNvPr id="8" name="CasellaDiTesto 7"/>
          <p:cNvSpPr txBox="1"/>
          <p:nvPr/>
        </p:nvSpPr>
        <p:spPr>
          <a:xfrm>
            <a:off x="299375" y="6430168"/>
            <a:ext cx="26868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1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" charset="0"/>
                <a:ea typeface="Roboto Condensed" charset="0"/>
                <a:cs typeface="Roboto Condensed" charset="0"/>
              </a:rPr>
              <a:t>CONFIDENTIAL</a:t>
            </a:r>
          </a:p>
        </p:txBody>
      </p:sp>
      <p:sp>
        <p:nvSpPr>
          <p:cNvPr id="16" name="Titolo 1"/>
          <p:cNvSpPr txBox="1">
            <a:spLocks/>
          </p:cNvSpPr>
          <p:nvPr/>
        </p:nvSpPr>
        <p:spPr>
          <a:xfrm>
            <a:off x="5209069" y="2613035"/>
            <a:ext cx="2668933" cy="946850"/>
          </a:xfrm>
          <a:prstGeom prst="rect">
            <a:avLst/>
          </a:prstGeom>
        </p:spPr>
        <p:txBody>
          <a:bodyPr vert="horz" lIns="121888" tIns="60944" rIns="121888" bIns="60944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70000"/>
              </a:lnSpc>
            </a:pPr>
            <a:r>
              <a:rPr lang="it-IT" sz="2400" spc="300" dirty="0">
                <a:solidFill>
                  <a:srgbClr val="3D4442"/>
                </a:solidFill>
                <a:latin typeface="Roboto Condensed" charset="0"/>
                <a:ea typeface="Roboto Condensed" charset="0"/>
                <a:cs typeface="Roboto Condensed" charset="0"/>
              </a:rPr>
              <a:t>Group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4350549" y="3976638"/>
            <a:ext cx="4774500" cy="543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70000"/>
              </a:lnSpc>
            </a:pPr>
            <a:r>
              <a:rPr lang="it-IT" sz="2000" spc="300" dirty="0">
                <a:solidFill>
                  <a:schemeClr val="bg1">
                    <a:lumMod val="65000"/>
                  </a:schemeClr>
                </a:solidFill>
                <a:latin typeface="Roboto Condensed" charset="0"/>
                <a:ea typeface="Roboto Condensed" charset="0"/>
                <a:cs typeface="Roboto Condensed" charset="0"/>
              </a:rPr>
              <a:t>Grazie per l’attenzione!</a:t>
            </a:r>
          </a:p>
        </p:txBody>
      </p:sp>
      <p:pic>
        <p:nvPicPr>
          <p:cNvPr id="19" name="Immagine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9170" y="2901783"/>
            <a:ext cx="1410221" cy="564088"/>
          </a:xfrm>
          <a:prstGeom prst="rect">
            <a:avLst/>
          </a:prstGeom>
        </p:spPr>
      </p:pic>
      <p:sp>
        <p:nvSpPr>
          <p:cNvPr id="9" name="CasellaDiTesto 8"/>
          <p:cNvSpPr txBox="1"/>
          <p:nvPr/>
        </p:nvSpPr>
        <p:spPr>
          <a:xfrm>
            <a:off x="-812800" y="6434667"/>
            <a:ext cx="184731" cy="369332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none" rtlCol="0">
            <a:spAutoFit/>
          </a:bodyPr>
          <a:lstStyle/>
          <a:p>
            <a:endParaRPr lang="it-IT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FF446D-4DE2-490A-A7F9-DB86A473130F}"/>
              </a:ext>
            </a:extLst>
          </p:cNvPr>
          <p:cNvSpPr txBox="1"/>
          <p:nvPr/>
        </p:nvSpPr>
        <p:spPr>
          <a:xfrm>
            <a:off x="6366108" y="6172920"/>
            <a:ext cx="5750627" cy="369332"/>
          </a:xfrm>
          <a:prstGeom prst="rect">
            <a:avLst/>
          </a:prstGeom>
          <a:solidFill>
            <a:srgbClr val="F2F2F2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 partnership con:                                     &amp;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2E2F048-426E-488B-A19D-C9E845620D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4726" y="6136343"/>
            <a:ext cx="1706095" cy="442486"/>
          </a:xfrm>
          <a:prstGeom prst="rect">
            <a:avLst/>
          </a:prstGeom>
        </p:spPr>
      </p:pic>
      <p:pic>
        <p:nvPicPr>
          <p:cNvPr id="14" name="Immagine 10">
            <a:extLst>
              <a:ext uri="{FF2B5EF4-FFF2-40B4-BE49-F238E27FC236}">
                <a16:creationId xmlns:a16="http://schemas.microsoft.com/office/drawing/2014/main" id="{706DB870-FACE-492F-8053-21FB5E76DCC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73" b="36394"/>
          <a:stretch/>
        </p:blipFill>
        <p:spPr>
          <a:xfrm>
            <a:off x="8278245" y="6151101"/>
            <a:ext cx="1859859" cy="41297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81497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 txBox="1">
            <a:spLocks/>
          </p:cNvSpPr>
          <p:nvPr/>
        </p:nvSpPr>
        <p:spPr>
          <a:xfrm>
            <a:off x="1425678" y="1052736"/>
            <a:ext cx="7694658" cy="5121922"/>
          </a:xfrm>
          <a:prstGeom prst="rect">
            <a:avLst/>
          </a:prstGeom>
          <a:ln w="19050">
            <a:solidFill>
              <a:srgbClr val="0D3370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w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marR="0" lvl="0" indent="-2730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li aeroporti stanno attraversando un'ondata di digitalizzazione per cui in futuro tutti gli </a:t>
            </a:r>
            <a:r>
              <a:rPr kumimoji="0" lang="it-IT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keholder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aranno interconnessi, consentendo una maggiore proattività nella gestione degli scali. Si prevede che nei prossimi anni l'investimento in soluzioni digitali negli aeroporti aumenti di più del 10%, per migliorare l'esperienza dei passeggeri e le operazioni aeroportuali;</a:t>
            </a:r>
          </a:p>
          <a:p>
            <a:pPr marL="273050" marR="0" lvl="0" indent="-2730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autorità dell'aviazione civile, i gestori aeroportuali, le compagnie aeree e gli operatori di </a:t>
            </a:r>
            <a:r>
              <a:rPr kumimoji="0" lang="it-IT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ndling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ono alla ricerca di soluzioni per digitalizzare la gestione della flotta che permettano di affrontare molte delle problematiche relative al GSE;</a:t>
            </a:r>
          </a:p>
          <a:p>
            <a:pPr marL="273050" marR="0" lvl="0" indent="-2730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it-IT" sz="1800" dirty="0">
                <a:solidFill>
                  <a:srgbClr val="002060"/>
                </a:solidFill>
                <a:latin typeface="Calibri"/>
              </a:rPr>
              <a:t>In t</a:t>
            </a:r>
            <a:r>
              <a:rPr kumimoji="0" lang="it-I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ta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uropa, i gestori aeroportuali, le autorità competenti ed i vettori stanno iniziando a richiedere agli operatori di </a:t>
            </a:r>
            <a:r>
              <a:rPr kumimoji="0" lang="it-IT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ndling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’installazione di soluzioni telematiche.</a:t>
            </a:r>
            <a:endParaRPr kumimoji="0" lang="en-US" sz="1800" b="0" i="0" u="none" strike="noStrike" kern="14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troduzio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773E1-9645-48F3-9513-6154753BDDA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lowchart: Process 53">
            <a:extLst>
              <a:ext uri="{FF2B5EF4-FFF2-40B4-BE49-F238E27FC236}">
                <a16:creationId xmlns:a16="http://schemas.microsoft.com/office/drawing/2014/main" id="{B67E133C-7A6A-45C2-A497-A9345FD3BB97}"/>
              </a:ext>
            </a:extLst>
          </p:cNvPr>
          <p:cNvSpPr/>
          <p:nvPr/>
        </p:nvSpPr>
        <p:spPr>
          <a:xfrm>
            <a:off x="9264352" y="1052737"/>
            <a:ext cx="2563854" cy="5121922"/>
          </a:xfrm>
          <a:prstGeom prst="flowChartProcess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E466B77A-85D3-4B5F-9334-7B28AF95FA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0870" y="1210523"/>
            <a:ext cx="1670817" cy="4876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96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CR in numer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773E1-9645-48F3-9513-6154753BDDA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8E1FDDF-50A9-40D8-BB99-E4598793DF35}"/>
              </a:ext>
            </a:extLst>
          </p:cNvPr>
          <p:cNvSpPr/>
          <p:nvPr/>
        </p:nvSpPr>
        <p:spPr>
          <a:xfrm>
            <a:off x="1211810" y="1286279"/>
            <a:ext cx="3311674" cy="4512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CD5D14F-611F-4BDA-945B-94CABD475C31}"/>
              </a:ext>
            </a:extLst>
          </p:cNvPr>
          <p:cNvGrpSpPr/>
          <p:nvPr/>
        </p:nvGrpSpPr>
        <p:grpSpPr>
          <a:xfrm>
            <a:off x="1789110" y="3602879"/>
            <a:ext cx="2123016" cy="798380"/>
            <a:chOff x="9013509" y="3141239"/>
            <a:chExt cx="2123016" cy="798380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464BE5D0-F6A0-4CC3-ABDD-5A6459883C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13509" y="3141239"/>
              <a:ext cx="2123016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altLang="en-US" sz="3200" kern="0">
                  <a:solidFill>
                    <a:schemeClr val="accent5">
                      <a:lumMod val="50000"/>
                    </a:schemeClr>
                  </a:solidFill>
                </a:rPr>
                <a:t>1,000</a:t>
              </a:r>
              <a:r>
                <a:rPr kumimoji="0" lang="it-IT" altLang="en-US" sz="3200" b="1" i="0" u="none" strike="noStrike" kern="0" cap="none" spc="0" normalizeH="0" baseline="0" noProof="0">
                  <a:ln>
                    <a:noFill/>
                  </a:ln>
                  <a:solidFill>
                    <a:schemeClr val="accent5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cs typeface="Arial" panose="020B0604020202020204" pitchFamily="34" charset="0"/>
                </a:rPr>
                <a:t>+</a:t>
              </a:r>
              <a:endParaRPr kumimoji="0" lang="it-IT" alt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7">
              <a:extLst>
                <a:ext uri="{FF2B5EF4-FFF2-40B4-BE49-F238E27FC236}">
                  <a16:creationId xmlns:a16="http://schemas.microsoft.com/office/drawing/2014/main" id="{D1975301-6FBC-4A8D-A6F1-89BC38A899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13509" y="3662620"/>
              <a:ext cx="2123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accent5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cs typeface="Arial" panose="020B0604020202020204" pitchFamily="34" charset="0"/>
                </a:rPr>
                <a:t>Dipendenti</a:t>
              </a:r>
              <a:endParaRPr kumimoji="0" lang="it-IT" alt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0C1A4F7-ED3E-40D3-833D-8AF2437AEFCF}"/>
              </a:ext>
            </a:extLst>
          </p:cNvPr>
          <p:cNvGrpSpPr/>
          <p:nvPr/>
        </p:nvGrpSpPr>
        <p:grpSpPr>
          <a:xfrm>
            <a:off x="1702903" y="1262293"/>
            <a:ext cx="2427020" cy="877933"/>
            <a:chOff x="8942606" y="4227587"/>
            <a:chExt cx="2427020" cy="877933"/>
          </a:xfrm>
        </p:grpSpPr>
        <p:sp>
          <p:nvSpPr>
            <p:cNvPr id="16" name="TextBox 9">
              <a:extLst>
                <a:ext uri="{FF2B5EF4-FFF2-40B4-BE49-F238E27FC236}">
                  <a16:creationId xmlns:a16="http://schemas.microsoft.com/office/drawing/2014/main" id="{92910F8F-7B0F-402E-B182-8196B0D141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42606" y="4227587"/>
              <a:ext cx="2427020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3200" b="1" i="0" u="none" strike="noStrike" kern="0" cap="none" spc="0" normalizeH="0" baseline="0" noProof="0">
                  <a:ln>
                    <a:noFill/>
                  </a:ln>
                  <a:solidFill>
                    <a:schemeClr val="accent5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cs typeface="Arial" panose="020B0604020202020204" pitchFamily="34" charset="0"/>
                </a:rPr>
                <a:t>30,000+</a:t>
              </a:r>
              <a:endParaRPr kumimoji="0" lang="it-IT" alt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0">
              <a:extLst>
                <a:ext uri="{FF2B5EF4-FFF2-40B4-BE49-F238E27FC236}">
                  <a16:creationId xmlns:a16="http://schemas.microsoft.com/office/drawing/2014/main" id="{9D64C4FD-AF77-4362-AA1B-5F7561557AA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33935" y="4828521"/>
              <a:ext cx="2123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accent5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cs typeface="Arial" panose="020B0604020202020204" pitchFamily="34" charset="0"/>
                </a:rPr>
                <a:t>Flotta mezzi di proprietà</a:t>
              </a:r>
              <a:endParaRPr kumimoji="0" lang="it-IT" alt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3C83778-0FCD-4ADE-A3AE-FE33A71C3C27}"/>
              </a:ext>
            </a:extLst>
          </p:cNvPr>
          <p:cNvGrpSpPr/>
          <p:nvPr/>
        </p:nvGrpSpPr>
        <p:grpSpPr>
          <a:xfrm>
            <a:off x="1789110" y="4788273"/>
            <a:ext cx="2254607" cy="877933"/>
            <a:chOff x="9048950" y="5426402"/>
            <a:chExt cx="2254607" cy="877933"/>
          </a:xfrm>
        </p:grpSpPr>
        <p:sp>
          <p:nvSpPr>
            <p:cNvPr id="19" name="TextBox 9">
              <a:extLst>
                <a:ext uri="{FF2B5EF4-FFF2-40B4-BE49-F238E27FC236}">
                  <a16:creationId xmlns:a16="http://schemas.microsoft.com/office/drawing/2014/main" id="{6A7867DC-03EF-48B2-AA88-E9B5C7160E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54072" y="5426402"/>
              <a:ext cx="2123016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3200" b="1" i="0" u="none" strike="noStrike" kern="0" cap="none" spc="0" normalizeH="0" baseline="0" noProof="0">
                  <a:ln>
                    <a:noFill/>
                  </a:ln>
                  <a:solidFill>
                    <a:schemeClr val="accent5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cs typeface="Arial" panose="020B0604020202020204" pitchFamily="34" charset="0"/>
                </a:rPr>
                <a:t>€665m</a:t>
              </a:r>
              <a:endParaRPr kumimoji="0" lang="it-IT" alt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10">
              <a:extLst>
                <a:ext uri="{FF2B5EF4-FFF2-40B4-BE49-F238E27FC236}">
                  <a16:creationId xmlns:a16="http://schemas.microsoft.com/office/drawing/2014/main" id="{7F95452C-5BC0-487B-82B2-E6D1662592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48950" y="6027336"/>
              <a:ext cx="225460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accent5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cs typeface="Arial" panose="020B0604020202020204" pitchFamily="34" charset="0"/>
                </a:rPr>
                <a:t>Valore a nuovo della flotta</a:t>
              </a:r>
              <a:endParaRPr kumimoji="0" lang="it-IT" alt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62F4E66-EB0B-466E-B287-352E587435AF}"/>
              </a:ext>
            </a:extLst>
          </p:cNvPr>
          <p:cNvCxnSpPr/>
          <p:nvPr/>
        </p:nvCxnSpPr>
        <p:spPr>
          <a:xfrm>
            <a:off x="1211810" y="2217481"/>
            <a:ext cx="33116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86FF3E6-D837-48D4-BD5B-46C29F3FC7BB}"/>
              </a:ext>
            </a:extLst>
          </p:cNvPr>
          <p:cNvCxnSpPr/>
          <p:nvPr/>
        </p:nvCxnSpPr>
        <p:spPr>
          <a:xfrm>
            <a:off x="1211810" y="3410585"/>
            <a:ext cx="33116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089E344-A557-44ED-A53B-29230763318E}"/>
              </a:ext>
            </a:extLst>
          </p:cNvPr>
          <p:cNvCxnSpPr/>
          <p:nvPr/>
        </p:nvCxnSpPr>
        <p:spPr>
          <a:xfrm>
            <a:off x="1211810" y="4683242"/>
            <a:ext cx="33116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606FE2B-F648-4DB7-ADB9-03FC564A4804}"/>
              </a:ext>
            </a:extLst>
          </p:cNvPr>
          <p:cNvCxnSpPr/>
          <p:nvPr/>
        </p:nvCxnSpPr>
        <p:spPr>
          <a:xfrm>
            <a:off x="1211810" y="6156288"/>
            <a:ext cx="10799763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0BBAEC9F-F0A6-4500-9D1D-54D539B2AD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500" y="1357329"/>
            <a:ext cx="1352535" cy="1345379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4423C0C-2AC4-4FE2-842F-5B92C5B485B4}"/>
              </a:ext>
            </a:extLst>
          </p:cNvPr>
          <p:cNvCxnSpPr/>
          <p:nvPr/>
        </p:nvCxnSpPr>
        <p:spPr>
          <a:xfrm>
            <a:off x="4534576" y="3126486"/>
            <a:ext cx="7476997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7D5AAB54-F5BC-44CC-AD10-39D5C3EDCF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2624" y="4422598"/>
            <a:ext cx="1481428" cy="1399581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50DD07A-5FB4-42AF-8A2B-241DD3CBB489}"/>
              </a:ext>
            </a:extLst>
          </p:cNvPr>
          <p:cNvCxnSpPr/>
          <p:nvPr/>
        </p:nvCxnSpPr>
        <p:spPr>
          <a:xfrm>
            <a:off x="1211810" y="1206695"/>
            <a:ext cx="10799763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9B95A7C6-3D7A-4C89-B007-8568917D92E3}"/>
              </a:ext>
            </a:extLst>
          </p:cNvPr>
          <p:cNvSpPr txBox="1">
            <a:spLocks/>
          </p:cNvSpPr>
          <p:nvPr/>
        </p:nvSpPr>
        <p:spPr>
          <a:xfrm>
            <a:off x="6323192" y="3759044"/>
            <a:ext cx="5688382" cy="18862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w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4013" marR="0" lvl="1" indent="-2651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escita del Fatturato: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 €4m nel 1999 a €170m nel 2017</a:t>
            </a:r>
          </a:p>
          <a:p>
            <a:pPr marL="354013" marR="0" lvl="1" indent="-2651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zionisti: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orzio formato d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i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rastructur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c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utsche Asset Management</a:t>
            </a:r>
            <a:endParaRPr lang="it-IT" sz="1000" b="1" dirty="0">
              <a:solidFill>
                <a:srgbClr val="002060"/>
              </a:solidFill>
              <a:latin typeface="Calibri"/>
            </a:endParaRPr>
          </a:p>
          <a:p>
            <a:pPr marL="354013" marR="0" lvl="1" indent="-2651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2651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ponibilità Finanziaria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Stretti legami con la comunità finanziaria forniscono la disponibilità necessaria a gestire il business corrente e sostenere la crescita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9C6C2ECF-02D4-46FB-93D1-8F66B9C823BF}"/>
              </a:ext>
            </a:extLst>
          </p:cNvPr>
          <p:cNvSpPr txBox="1">
            <a:spLocks/>
          </p:cNvSpPr>
          <p:nvPr/>
        </p:nvSpPr>
        <p:spPr>
          <a:xfrm>
            <a:off x="6323192" y="1600371"/>
            <a:ext cx="5688381" cy="14598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w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2438" marR="0" lvl="1" indent="-276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e in oltre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0 aeroporti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AMS, ARN, BRU, CDG, CPH, DUS, FCO,  KUL, LIN, LGW, LHR, MAD, MXP, OSL… </a:t>
            </a:r>
          </a:p>
          <a:p>
            <a:pPr marL="452438" marR="0" lvl="1" indent="-276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e in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 Paesi 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2438" marR="0" lvl="1" indent="-2762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forte crescita in Asia, Australia, e nuovi progetti di sviluppo in USA e Nord Africa e Medio Orient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97F83055-6BA2-4253-A5AA-8F1AA7368F91}"/>
              </a:ext>
            </a:extLst>
          </p:cNvPr>
          <p:cNvSpPr txBox="1">
            <a:spLocks/>
          </p:cNvSpPr>
          <p:nvPr/>
        </p:nvSpPr>
        <p:spPr>
          <a:xfrm>
            <a:off x="4621544" y="3204002"/>
            <a:ext cx="7390029" cy="6069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w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 straordinaria performance degli ultimi anni è il prodotto della perfetta partnership con i propri clienti, azionisti e comunità finanziaria.</a:t>
            </a:r>
          </a:p>
        </p:txBody>
      </p:sp>
      <p:sp>
        <p:nvSpPr>
          <p:cNvPr id="32" name="Rettangolo 30">
            <a:extLst>
              <a:ext uri="{FF2B5EF4-FFF2-40B4-BE49-F238E27FC236}">
                <a16:creationId xmlns:a16="http://schemas.microsoft.com/office/drawing/2014/main" id="{648E3FC4-8FB4-460C-B2C3-909E6247C2CC}"/>
              </a:ext>
            </a:extLst>
          </p:cNvPr>
          <p:cNvSpPr/>
          <p:nvPr/>
        </p:nvSpPr>
        <p:spPr>
          <a:xfrm>
            <a:off x="6490098" y="1234185"/>
            <a:ext cx="38209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za internazionale, nazionale e locale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3" name="Immagine 45">
            <a:extLst>
              <a:ext uri="{FF2B5EF4-FFF2-40B4-BE49-F238E27FC236}">
                <a16:creationId xmlns:a16="http://schemas.microsoft.com/office/drawing/2014/main" id="{14BEA288-1EF9-44A8-93FA-0085BB2850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7382" y="4501039"/>
            <a:ext cx="863269" cy="697767"/>
          </a:xfrm>
          <a:prstGeom prst="rect">
            <a:avLst/>
          </a:prstGeom>
        </p:spPr>
      </p:pic>
      <p:pic>
        <p:nvPicPr>
          <p:cNvPr id="34" name="Immagine 46">
            <a:extLst>
              <a:ext uri="{FF2B5EF4-FFF2-40B4-BE49-F238E27FC236}">
                <a16:creationId xmlns:a16="http://schemas.microsoft.com/office/drawing/2014/main" id="{FD8237AC-2FD2-4F6B-B964-98F157E4BE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19420" y="4533240"/>
            <a:ext cx="1921540" cy="606979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9EF17490-DF3B-482F-AC8F-504100C5D63C}"/>
              </a:ext>
            </a:extLst>
          </p:cNvPr>
          <p:cNvGrpSpPr/>
          <p:nvPr/>
        </p:nvGrpSpPr>
        <p:grpSpPr>
          <a:xfrm>
            <a:off x="1770417" y="2368449"/>
            <a:ext cx="2123016" cy="798380"/>
            <a:chOff x="9013509" y="3141239"/>
            <a:chExt cx="2123016" cy="798380"/>
          </a:xfrm>
        </p:grpSpPr>
        <p:sp>
          <p:nvSpPr>
            <p:cNvPr id="36" name="TextBox 5">
              <a:extLst>
                <a:ext uri="{FF2B5EF4-FFF2-40B4-BE49-F238E27FC236}">
                  <a16:creationId xmlns:a16="http://schemas.microsoft.com/office/drawing/2014/main" id="{D05D99BF-3792-45C7-9AB4-1AFD94C808E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13509" y="3141239"/>
              <a:ext cx="2123016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altLang="en-US" sz="3200" kern="0">
                  <a:solidFill>
                    <a:schemeClr val="accent5">
                      <a:lumMod val="50000"/>
                    </a:schemeClr>
                  </a:solidFill>
                </a:rPr>
                <a:t>120</a:t>
              </a:r>
              <a:r>
                <a:rPr kumimoji="0" lang="it-IT" altLang="en-US" sz="3200" b="1" i="0" u="none" strike="noStrike" kern="0" cap="none" spc="0" normalizeH="0" baseline="0" noProof="0">
                  <a:ln>
                    <a:noFill/>
                  </a:ln>
                  <a:solidFill>
                    <a:schemeClr val="accent5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cs typeface="Arial" panose="020B0604020202020204" pitchFamily="34" charset="0"/>
                </a:rPr>
                <a:t>+</a:t>
              </a:r>
              <a:endParaRPr kumimoji="0" lang="it-IT" alt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TextBox 7">
              <a:extLst>
                <a:ext uri="{FF2B5EF4-FFF2-40B4-BE49-F238E27FC236}">
                  <a16:creationId xmlns:a16="http://schemas.microsoft.com/office/drawing/2014/main" id="{6970725A-58CD-4F03-8470-B04C084A8ED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13509" y="3662620"/>
              <a:ext cx="21230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accent5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cs typeface="Arial" panose="020B0604020202020204" pitchFamily="34" charset="0"/>
                </a:rPr>
                <a:t>Aeroporti</a:t>
              </a:r>
              <a:endParaRPr kumimoji="0" lang="it-IT" alt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9484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resenza geografic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773E1-9645-48F3-9513-6154753BDDA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27A973B-DCE1-4CA2-9EA8-BADF0C81570C}"/>
              </a:ext>
            </a:extLst>
          </p:cNvPr>
          <p:cNvGrpSpPr/>
          <p:nvPr/>
        </p:nvGrpSpPr>
        <p:grpSpPr>
          <a:xfrm>
            <a:off x="1129762" y="2040030"/>
            <a:ext cx="10777012" cy="4518717"/>
            <a:chOff x="983432" y="1407975"/>
            <a:chExt cx="10877149" cy="5081887"/>
          </a:xfrm>
        </p:grpSpPr>
        <p:sp>
          <p:nvSpPr>
            <p:cNvPr id="39" name="Freeform 4">
              <a:extLst>
                <a:ext uri="{FF2B5EF4-FFF2-40B4-BE49-F238E27FC236}">
                  <a16:creationId xmlns:a16="http://schemas.microsoft.com/office/drawing/2014/main" id="{E962645D-DE83-47B0-A5D1-BD33A34D1B0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11315921" y="5692789"/>
              <a:ext cx="340411" cy="203940"/>
            </a:xfrm>
            <a:custGeom>
              <a:avLst/>
              <a:gdLst>
                <a:gd name="T0" fmla="*/ 269875 w 142"/>
                <a:gd name="T1" fmla="*/ 7666 h 82"/>
                <a:gd name="T2" fmla="*/ 229964 w 142"/>
                <a:gd name="T3" fmla="*/ 53665 h 82"/>
                <a:gd name="T4" fmla="*/ 212859 w 142"/>
                <a:gd name="T5" fmla="*/ 67081 h 82"/>
                <a:gd name="T6" fmla="*/ 201456 w 142"/>
                <a:gd name="T7" fmla="*/ 70915 h 82"/>
                <a:gd name="T8" fmla="*/ 159644 w 142"/>
                <a:gd name="T9" fmla="*/ 90081 h 82"/>
                <a:gd name="T10" fmla="*/ 125435 w 142"/>
                <a:gd name="T11" fmla="*/ 122663 h 82"/>
                <a:gd name="T12" fmla="*/ 119733 w 142"/>
                <a:gd name="T13" fmla="*/ 136079 h 82"/>
                <a:gd name="T14" fmla="*/ 70320 w 142"/>
                <a:gd name="T15" fmla="*/ 157162 h 82"/>
                <a:gd name="T16" fmla="*/ 22806 w 142"/>
                <a:gd name="T17" fmla="*/ 149496 h 82"/>
                <a:gd name="T18" fmla="*/ 28508 w 142"/>
                <a:gd name="T19" fmla="*/ 122663 h 82"/>
                <a:gd name="T20" fmla="*/ 41812 w 142"/>
                <a:gd name="T21" fmla="*/ 107330 h 82"/>
                <a:gd name="T22" fmla="*/ 62717 w 142"/>
                <a:gd name="T23" fmla="*/ 90081 h 82"/>
                <a:gd name="T24" fmla="*/ 167246 w 142"/>
                <a:gd name="T25" fmla="*/ 57498 h 82"/>
                <a:gd name="T26" fmla="*/ 190053 w 142"/>
                <a:gd name="T27" fmla="*/ 32582 h 82"/>
                <a:gd name="T28" fmla="*/ 205257 w 142"/>
                <a:gd name="T29" fmla="*/ 19166 h 82"/>
                <a:gd name="T30" fmla="*/ 229964 w 142"/>
                <a:gd name="T31" fmla="*/ 0 h 82"/>
                <a:gd name="T32" fmla="*/ 241367 w 142"/>
                <a:gd name="T33" fmla="*/ 1917 h 82"/>
                <a:gd name="T34" fmla="*/ 248969 w 142"/>
                <a:gd name="T35" fmla="*/ 13416 h 82"/>
                <a:gd name="T36" fmla="*/ 269875 w 142"/>
                <a:gd name="T37" fmla="*/ 7666 h 8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2"/>
                <a:gd name="T58" fmla="*/ 0 h 82"/>
                <a:gd name="T59" fmla="*/ 142 w 142"/>
                <a:gd name="T60" fmla="*/ 82 h 8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2" h="82">
                  <a:moveTo>
                    <a:pt x="142" y="4"/>
                  </a:moveTo>
                  <a:cubicBezTo>
                    <a:pt x="140" y="5"/>
                    <a:pt x="125" y="24"/>
                    <a:pt x="121" y="28"/>
                  </a:cubicBezTo>
                  <a:cubicBezTo>
                    <a:pt x="118" y="31"/>
                    <a:pt x="115" y="33"/>
                    <a:pt x="112" y="35"/>
                  </a:cubicBezTo>
                  <a:cubicBezTo>
                    <a:pt x="110" y="36"/>
                    <a:pt x="106" y="37"/>
                    <a:pt x="106" y="37"/>
                  </a:cubicBezTo>
                  <a:cubicBezTo>
                    <a:pt x="103" y="45"/>
                    <a:pt x="91" y="46"/>
                    <a:pt x="84" y="47"/>
                  </a:cubicBezTo>
                  <a:cubicBezTo>
                    <a:pt x="76" y="50"/>
                    <a:pt x="73" y="59"/>
                    <a:pt x="66" y="64"/>
                  </a:cubicBezTo>
                  <a:cubicBezTo>
                    <a:pt x="65" y="66"/>
                    <a:pt x="65" y="69"/>
                    <a:pt x="63" y="71"/>
                  </a:cubicBezTo>
                  <a:cubicBezTo>
                    <a:pt x="58" y="77"/>
                    <a:pt x="44" y="77"/>
                    <a:pt x="37" y="82"/>
                  </a:cubicBezTo>
                  <a:cubicBezTo>
                    <a:pt x="29" y="81"/>
                    <a:pt x="20" y="79"/>
                    <a:pt x="12" y="78"/>
                  </a:cubicBezTo>
                  <a:cubicBezTo>
                    <a:pt x="0" y="74"/>
                    <a:pt x="9" y="70"/>
                    <a:pt x="15" y="64"/>
                  </a:cubicBezTo>
                  <a:cubicBezTo>
                    <a:pt x="23" y="54"/>
                    <a:pt x="15" y="61"/>
                    <a:pt x="22" y="56"/>
                  </a:cubicBezTo>
                  <a:cubicBezTo>
                    <a:pt x="24" y="50"/>
                    <a:pt x="27" y="49"/>
                    <a:pt x="33" y="47"/>
                  </a:cubicBezTo>
                  <a:cubicBezTo>
                    <a:pt x="40" y="40"/>
                    <a:pt x="77" y="32"/>
                    <a:pt x="88" y="30"/>
                  </a:cubicBezTo>
                  <a:cubicBezTo>
                    <a:pt x="95" y="26"/>
                    <a:pt x="95" y="22"/>
                    <a:pt x="100" y="17"/>
                  </a:cubicBezTo>
                  <a:cubicBezTo>
                    <a:pt x="101" y="13"/>
                    <a:pt x="104" y="12"/>
                    <a:pt x="108" y="10"/>
                  </a:cubicBezTo>
                  <a:cubicBezTo>
                    <a:pt x="110" y="4"/>
                    <a:pt x="115" y="2"/>
                    <a:pt x="121" y="0"/>
                  </a:cubicBezTo>
                  <a:cubicBezTo>
                    <a:pt x="123" y="0"/>
                    <a:pt x="125" y="0"/>
                    <a:pt x="127" y="1"/>
                  </a:cubicBezTo>
                  <a:cubicBezTo>
                    <a:pt x="129" y="2"/>
                    <a:pt x="131" y="7"/>
                    <a:pt x="131" y="7"/>
                  </a:cubicBezTo>
                  <a:cubicBezTo>
                    <a:pt x="135" y="7"/>
                    <a:pt x="142" y="4"/>
                    <a:pt x="142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B2B18C62-1470-4CC5-8BB7-B6AD57CF3434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1672352" y="5482669"/>
              <a:ext cx="172208" cy="234841"/>
            </a:xfrm>
            <a:custGeom>
              <a:avLst/>
              <a:gdLst>
                <a:gd name="T0" fmla="*/ 3792 w 72"/>
                <a:gd name="T1" fmla="*/ 173355 h 95"/>
                <a:gd name="T2" fmla="*/ 20858 w 72"/>
                <a:gd name="T3" fmla="*/ 135255 h 95"/>
                <a:gd name="T4" fmla="*/ 1896 w 72"/>
                <a:gd name="T5" fmla="*/ 120015 h 95"/>
                <a:gd name="T6" fmla="*/ 17066 w 72"/>
                <a:gd name="T7" fmla="*/ 104775 h 95"/>
                <a:gd name="T8" fmla="*/ 28443 w 72"/>
                <a:gd name="T9" fmla="*/ 100965 h 95"/>
                <a:gd name="T10" fmla="*/ 43612 w 72"/>
                <a:gd name="T11" fmla="*/ 78105 h 95"/>
                <a:gd name="T12" fmla="*/ 28443 w 72"/>
                <a:gd name="T13" fmla="*/ 20955 h 95"/>
                <a:gd name="T14" fmla="*/ 22754 w 72"/>
                <a:gd name="T15" fmla="*/ 3810 h 95"/>
                <a:gd name="T16" fmla="*/ 54989 w 72"/>
                <a:gd name="T17" fmla="*/ 3810 h 95"/>
                <a:gd name="T18" fmla="*/ 56885 w 72"/>
                <a:gd name="T19" fmla="*/ 40005 h 95"/>
                <a:gd name="T20" fmla="*/ 72055 w 72"/>
                <a:gd name="T21" fmla="*/ 60960 h 95"/>
                <a:gd name="T22" fmla="*/ 83432 w 72"/>
                <a:gd name="T23" fmla="*/ 51435 h 95"/>
                <a:gd name="T24" fmla="*/ 94809 w 72"/>
                <a:gd name="T25" fmla="*/ 85725 h 95"/>
                <a:gd name="T26" fmla="*/ 130836 w 72"/>
                <a:gd name="T27" fmla="*/ 78105 h 95"/>
                <a:gd name="T28" fmla="*/ 125148 w 72"/>
                <a:gd name="T29" fmla="*/ 106680 h 95"/>
                <a:gd name="T30" fmla="*/ 81536 w 72"/>
                <a:gd name="T31" fmla="*/ 120015 h 95"/>
                <a:gd name="T32" fmla="*/ 17066 w 72"/>
                <a:gd name="T33" fmla="*/ 180975 h 95"/>
                <a:gd name="T34" fmla="*/ 3792 w 72"/>
                <a:gd name="T35" fmla="*/ 173355 h 9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95"/>
                <a:gd name="T56" fmla="*/ 72 w 72"/>
                <a:gd name="T57" fmla="*/ 95 h 9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95">
                  <a:moveTo>
                    <a:pt x="2" y="91"/>
                  </a:moveTo>
                  <a:cubicBezTo>
                    <a:pt x="5" y="84"/>
                    <a:pt x="6" y="76"/>
                    <a:pt x="11" y="71"/>
                  </a:cubicBezTo>
                  <a:cubicBezTo>
                    <a:pt x="2" y="66"/>
                    <a:pt x="4" y="70"/>
                    <a:pt x="1" y="63"/>
                  </a:cubicBezTo>
                  <a:cubicBezTo>
                    <a:pt x="3" y="60"/>
                    <a:pt x="5" y="57"/>
                    <a:pt x="9" y="55"/>
                  </a:cubicBezTo>
                  <a:cubicBezTo>
                    <a:pt x="11" y="54"/>
                    <a:pt x="15" y="53"/>
                    <a:pt x="15" y="53"/>
                  </a:cubicBezTo>
                  <a:cubicBezTo>
                    <a:pt x="19" y="49"/>
                    <a:pt x="20" y="45"/>
                    <a:pt x="23" y="41"/>
                  </a:cubicBezTo>
                  <a:cubicBezTo>
                    <a:pt x="22" y="35"/>
                    <a:pt x="22" y="16"/>
                    <a:pt x="15" y="11"/>
                  </a:cubicBezTo>
                  <a:cubicBezTo>
                    <a:pt x="14" y="8"/>
                    <a:pt x="12" y="2"/>
                    <a:pt x="12" y="2"/>
                  </a:cubicBezTo>
                  <a:cubicBezTo>
                    <a:pt x="18" y="0"/>
                    <a:pt x="23" y="0"/>
                    <a:pt x="29" y="2"/>
                  </a:cubicBezTo>
                  <a:cubicBezTo>
                    <a:pt x="31" y="10"/>
                    <a:pt x="31" y="10"/>
                    <a:pt x="30" y="21"/>
                  </a:cubicBezTo>
                  <a:cubicBezTo>
                    <a:pt x="31" y="31"/>
                    <a:pt x="29" y="34"/>
                    <a:pt x="38" y="32"/>
                  </a:cubicBezTo>
                  <a:cubicBezTo>
                    <a:pt x="39" y="28"/>
                    <a:pt x="39" y="24"/>
                    <a:pt x="44" y="27"/>
                  </a:cubicBezTo>
                  <a:cubicBezTo>
                    <a:pt x="45" y="33"/>
                    <a:pt x="44" y="41"/>
                    <a:pt x="50" y="45"/>
                  </a:cubicBezTo>
                  <a:cubicBezTo>
                    <a:pt x="57" y="44"/>
                    <a:pt x="62" y="43"/>
                    <a:pt x="69" y="41"/>
                  </a:cubicBezTo>
                  <a:cubicBezTo>
                    <a:pt x="72" y="45"/>
                    <a:pt x="70" y="53"/>
                    <a:pt x="66" y="56"/>
                  </a:cubicBezTo>
                  <a:cubicBezTo>
                    <a:pt x="60" y="60"/>
                    <a:pt x="49" y="61"/>
                    <a:pt x="43" y="63"/>
                  </a:cubicBezTo>
                  <a:cubicBezTo>
                    <a:pt x="32" y="80"/>
                    <a:pt x="25" y="84"/>
                    <a:pt x="9" y="95"/>
                  </a:cubicBezTo>
                  <a:cubicBezTo>
                    <a:pt x="0" y="93"/>
                    <a:pt x="0" y="95"/>
                    <a:pt x="2" y="9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1" name="Group 7">
              <a:extLst>
                <a:ext uri="{FF2B5EF4-FFF2-40B4-BE49-F238E27FC236}">
                  <a16:creationId xmlns:a16="http://schemas.microsoft.com/office/drawing/2014/main" id="{F2752C4C-5874-460C-8DAE-C2426428D705}"/>
                </a:ext>
              </a:extLst>
            </p:cNvPr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837666" y="1867327"/>
              <a:ext cx="871052" cy="861076"/>
              <a:chOff x="1916" y="1640"/>
              <a:chExt cx="320" cy="360"/>
            </a:xfrm>
            <a:solidFill>
              <a:schemeClr val="bg1">
                <a:lumMod val="85000"/>
              </a:schemeClr>
            </a:solidFill>
          </p:grpSpPr>
          <p:sp>
            <p:nvSpPr>
              <p:cNvPr id="386" name="Freeform 8">
                <a:extLst>
                  <a:ext uri="{FF2B5EF4-FFF2-40B4-BE49-F238E27FC236}">
                    <a16:creationId xmlns:a16="http://schemas.microsoft.com/office/drawing/2014/main" id="{D715A755-A956-4C4F-8C4E-976F70955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1640"/>
                <a:ext cx="80" cy="24"/>
              </a:xfrm>
              <a:custGeom>
                <a:avLst/>
                <a:gdLst>
                  <a:gd name="T0" fmla="*/ 0 w 80"/>
                  <a:gd name="T1" fmla="*/ 8 h 24"/>
                  <a:gd name="T2" fmla="*/ 32 w 80"/>
                  <a:gd name="T3" fmla="*/ 8 h 24"/>
                  <a:gd name="T4" fmla="*/ 40 w 80"/>
                  <a:gd name="T5" fmla="*/ 16 h 24"/>
                  <a:gd name="T6" fmla="*/ 0 w 80"/>
                  <a:gd name="T7" fmla="*/ 24 h 24"/>
                  <a:gd name="T8" fmla="*/ 16 w 80"/>
                  <a:gd name="T9" fmla="*/ 24 h 24"/>
                  <a:gd name="T10" fmla="*/ 40 w 80"/>
                  <a:gd name="T11" fmla="*/ 16 h 24"/>
                  <a:gd name="T12" fmla="*/ 24 w 80"/>
                  <a:gd name="T13" fmla="*/ 24 h 24"/>
                  <a:gd name="T14" fmla="*/ 48 w 80"/>
                  <a:gd name="T15" fmla="*/ 24 h 24"/>
                  <a:gd name="T16" fmla="*/ 48 w 80"/>
                  <a:gd name="T17" fmla="*/ 16 h 24"/>
                  <a:gd name="T18" fmla="*/ 64 w 80"/>
                  <a:gd name="T19" fmla="*/ 16 h 24"/>
                  <a:gd name="T20" fmla="*/ 80 w 80"/>
                  <a:gd name="T21" fmla="*/ 8 h 24"/>
                  <a:gd name="T22" fmla="*/ 48 w 80"/>
                  <a:gd name="T23" fmla="*/ 8 h 24"/>
                  <a:gd name="T24" fmla="*/ 72 w 80"/>
                  <a:gd name="T25" fmla="*/ 0 h 24"/>
                  <a:gd name="T26" fmla="*/ 64 w 80"/>
                  <a:gd name="T27" fmla="*/ 0 h 24"/>
                  <a:gd name="T28" fmla="*/ 0 w 80"/>
                  <a:gd name="T29" fmla="*/ 8 h 2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0"/>
                  <a:gd name="T46" fmla="*/ 0 h 24"/>
                  <a:gd name="T47" fmla="*/ 80 w 80"/>
                  <a:gd name="T48" fmla="*/ 24 h 2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0" h="24">
                    <a:moveTo>
                      <a:pt x="0" y="8"/>
                    </a:moveTo>
                    <a:lnTo>
                      <a:pt x="32" y="8"/>
                    </a:lnTo>
                    <a:lnTo>
                      <a:pt x="40" y="16"/>
                    </a:lnTo>
                    <a:lnTo>
                      <a:pt x="0" y="24"/>
                    </a:lnTo>
                    <a:lnTo>
                      <a:pt x="16" y="24"/>
                    </a:lnTo>
                    <a:lnTo>
                      <a:pt x="40" y="16"/>
                    </a:lnTo>
                    <a:lnTo>
                      <a:pt x="24" y="24"/>
                    </a:lnTo>
                    <a:lnTo>
                      <a:pt x="48" y="24"/>
                    </a:lnTo>
                    <a:lnTo>
                      <a:pt x="48" y="16"/>
                    </a:lnTo>
                    <a:lnTo>
                      <a:pt x="64" y="16"/>
                    </a:lnTo>
                    <a:lnTo>
                      <a:pt x="80" y="8"/>
                    </a:lnTo>
                    <a:lnTo>
                      <a:pt x="48" y="8"/>
                    </a:lnTo>
                    <a:lnTo>
                      <a:pt x="72" y="0"/>
                    </a:lnTo>
                    <a:lnTo>
                      <a:pt x="64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7" name="Freeform 9">
                <a:extLst>
                  <a:ext uri="{FF2B5EF4-FFF2-40B4-BE49-F238E27FC236}">
                    <a16:creationId xmlns:a16="http://schemas.microsoft.com/office/drawing/2014/main" id="{1B34F370-87CD-4B3E-A006-42304B5C1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2" y="1696"/>
                <a:ext cx="88" cy="24"/>
              </a:xfrm>
              <a:custGeom>
                <a:avLst/>
                <a:gdLst>
                  <a:gd name="T0" fmla="*/ 88 w 88"/>
                  <a:gd name="T1" fmla="*/ 0 h 24"/>
                  <a:gd name="T2" fmla="*/ 48 w 88"/>
                  <a:gd name="T3" fmla="*/ 8 h 24"/>
                  <a:gd name="T4" fmla="*/ 32 w 88"/>
                  <a:gd name="T5" fmla="*/ 8 h 24"/>
                  <a:gd name="T6" fmla="*/ 32 w 88"/>
                  <a:gd name="T7" fmla="*/ 16 h 24"/>
                  <a:gd name="T8" fmla="*/ 8 w 88"/>
                  <a:gd name="T9" fmla="*/ 24 h 24"/>
                  <a:gd name="T10" fmla="*/ 0 w 88"/>
                  <a:gd name="T11" fmla="*/ 24 h 24"/>
                  <a:gd name="T12" fmla="*/ 8 w 88"/>
                  <a:gd name="T13" fmla="*/ 24 h 24"/>
                  <a:gd name="T14" fmla="*/ 32 w 88"/>
                  <a:gd name="T15" fmla="*/ 24 h 24"/>
                  <a:gd name="T16" fmla="*/ 64 w 88"/>
                  <a:gd name="T17" fmla="*/ 8 h 24"/>
                  <a:gd name="T18" fmla="*/ 88 w 88"/>
                  <a:gd name="T19" fmla="*/ 8 h 24"/>
                  <a:gd name="T20" fmla="*/ 88 w 88"/>
                  <a:gd name="T21" fmla="*/ 0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8"/>
                  <a:gd name="T34" fmla="*/ 0 h 24"/>
                  <a:gd name="T35" fmla="*/ 88 w 88"/>
                  <a:gd name="T36" fmla="*/ 24 h 2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8" h="24">
                    <a:moveTo>
                      <a:pt x="88" y="0"/>
                    </a:moveTo>
                    <a:lnTo>
                      <a:pt x="48" y="8"/>
                    </a:lnTo>
                    <a:lnTo>
                      <a:pt x="32" y="8"/>
                    </a:lnTo>
                    <a:lnTo>
                      <a:pt x="32" y="16"/>
                    </a:lnTo>
                    <a:lnTo>
                      <a:pt x="8" y="24"/>
                    </a:lnTo>
                    <a:lnTo>
                      <a:pt x="0" y="24"/>
                    </a:lnTo>
                    <a:lnTo>
                      <a:pt x="8" y="24"/>
                    </a:lnTo>
                    <a:lnTo>
                      <a:pt x="32" y="24"/>
                    </a:lnTo>
                    <a:lnTo>
                      <a:pt x="64" y="8"/>
                    </a:lnTo>
                    <a:lnTo>
                      <a:pt x="88" y="8"/>
                    </a:lnTo>
                    <a:lnTo>
                      <a:pt x="88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8" name="Freeform 10">
                <a:extLst>
                  <a:ext uri="{FF2B5EF4-FFF2-40B4-BE49-F238E27FC236}">
                    <a16:creationId xmlns:a16="http://schemas.microsoft.com/office/drawing/2014/main" id="{EB68D7BC-A87C-42A6-AB42-9B78F8617B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4" y="1736"/>
                <a:ext cx="48" cy="16"/>
              </a:xfrm>
              <a:custGeom>
                <a:avLst/>
                <a:gdLst>
                  <a:gd name="T0" fmla="*/ 0 w 48"/>
                  <a:gd name="T1" fmla="*/ 16 h 16"/>
                  <a:gd name="T2" fmla="*/ 48 w 48"/>
                  <a:gd name="T3" fmla="*/ 8 h 16"/>
                  <a:gd name="T4" fmla="*/ 24 w 48"/>
                  <a:gd name="T5" fmla="*/ 0 h 16"/>
                  <a:gd name="T6" fmla="*/ 0 w 48"/>
                  <a:gd name="T7" fmla="*/ 16 h 1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8"/>
                  <a:gd name="T13" fmla="*/ 0 h 16"/>
                  <a:gd name="T14" fmla="*/ 48 w 48"/>
                  <a:gd name="T15" fmla="*/ 16 h 1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8" h="16">
                    <a:moveTo>
                      <a:pt x="0" y="16"/>
                    </a:moveTo>
                    <a:lnTo>
                      <a:pt x="48" y="8"/>
                    </a:lnTo>
                    <a:lnTo>
                      <a:pt x="24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9" name="Freeform 11">
                <a:extLst>
                  <a:ext uri="{FF2B5EF4-FFF2-40B4-BE49-F238E27FC236}">
                    <a16:creationId xmlns:a16="http://schemas.microsoft.com/office/drawing/2014/main" id="{AF3EA883-D49A-4909-856C-CD568CEA5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0" y="1760"/>
                <a:ext cx="32" cy="24"/>
              </a:xfrm>
              <a:custGeom>
                <a:avLst/>
                <a:gdLst>
                  <a:gd name="T0" fmla="*/ 0 w 32"/>
                  <a:gd name="T1" fmla="*/ 24 h 24"/>
                  <a:gd name="T2" fmla="*/ 16 w 32"/>
                  <a:gd name="T3" fmla="*/ 24 h 24"/>
                  <a:gd name="T4" fmla="*/ 24 w 32"/>
                  <a:gd name="T5" fmla="*/ 8 h 24"/>
                  <a:gd name="T6" fmla="*/ 32 w 32"/>
                  <a:gd name="T7" fmla="*/ 8 h 24"/>
                  <a:gd name="T8" fmla="*/ 32 w 32"/>
                  <a:gd name="T9" fmla="*/ 0 h 24"/>
                  <a:gd name="T10" fmla="*/ 0 w 32"/>
                  <a:gd name="T11" fmla="*/ 24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2"/>
                  <a:gd name="T19" fmla="*/ 0 h 24"/>
                  <a:gd name="T20" fmla="*/ 32 w 32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2" h="24">
                    <a:moveTo>
                      <a:pt x="0" y="24"/>
                    </a:moveTo>
                    <a:lnTo>
                      <a:pt x="16" y="24"/>
                    </a:lnTo>
                    <a:lnTo>
                      <a:pt x="24" y="8"/>
                    </a:lnTo>
                    <a:lnTo>
                      <a:pt x="32" y="8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0" name="Freeform 12">
                <a:extLst>
                  <a:ext uri="{FF2B5EF4-FFF2-40B4-BE49-F238E27FC236}">
                    <a16:creationId xmlns:a16="http://schemas.microsoft.com/office/drawing/2014/main" id="{A813AAFE-A6A6-48ED-A7E5-308EAC768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6" y="1824"/>
                <a:ext cx="16" cy="48"/>
              </a:xfrm>
              <a:custGeom>
                <a:avLst/>
                <a:gdLst>
                  <a:gd name="T0" fmla="*/ 0 w 16"/>
                  <a:gd name="T1" fmla="*/ 8 h 48"/>
                  <a:gd name="T2" fmla="*/ 0 w 16"/>
                  <a:gd name="T3" fmla="*/ 24 h 48"/>
                  <a:gd name="T4" fmla="*/ 8 w 16"/>
                  <a:gd name="T5" fmla="*/ 24 h 48"/>
                  <a:gd name="T6" fmla="*/ 0 w 16"/>
                  <a:gd name="T7" fmla="*/ 32 h 48"/>
                  <a:gd name="T8" fmla="*/ 8 w 16"/>
                  <a:gd name="T9" fmla="*/ 32 h 48"/>
                  <a:gd name="T10" fmla="*/ 0 w 16"/>
                  <a:gd name="T11" fmla="*/ 48 h 48"/>
                  <a:gd name="T12" fmla="*/ 16 w 16"/>
                  <a:gd name="T13" fmla="*/ 32 h 48"/>
                  <a:gd name="T14" fmla="*/ 16 w 16"/>
                  <a:gd name="T15" fmla="*/ 0 h 48"/>
                  <a:gd name="T16" fmla="*/ 8 w 16"/>
                  <a:gd name="T17" fmla="*/ 0 h 48"/>
                  <a:gd name="T18" fmla="*/ 0 w 16"/>
                  <a:gd name="T19" fmla="*/ 8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"/>
                  <a:gd name="T31" fmla="*/ 0 h 48"/>
                  <a:gd name="T32" fmla="*/ 16 w 16"/>
                  <a:gd name="T33" fmla="*/ 48 h 4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" h="48">
                    <a:moveTo>
                      <a:pt x="0" y="8"/>
                    </a:moveTo>
                    <a:lnTo>
                      <a:pt x="0" y="24"/>
                    </a:lnTo>
                    <a:lnTo>
                      <a:pt x="8" y="24"/>
                    </a:lnTo>
                    <a:lnTo>
                      <a:pt x="0" y="32"/>
                    </a:lnTo>
                    <a:lnTo>
                      <a:pt x="8" y="32"/>
                    </a:lnTo>
                    <a:lnTo>
                      <a:pt x="0" y="48"/>
                    </a:lnTo>
                    <a:lnTo>
                      <a:pt x="16" y="32"/>
                    </a:lnTo>
                    <a:lnTo>
                      <a:pt x="16" y="0"/>
                    </a:lnTo>
                    <a:lnTo>
                      <a:pt x="8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391" name="Group 13">
                <a:extLst>
                  <a:ext uri="{FF2B5EF4-FFF2-40B4-BE49-F238E27FC236}">
                    <a16:creationId xmlns:a16="http://schemas.microsoft.com/office/drawing/2014/main" id="{A3373CC9-F348-4176-8A00-8C810BCA827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060" y="1888"/>
                <a:ext cx="176" cy="112"/>
                <a:chOff x="2060" y="1888"/>
                <a:chExt cx="176" cy="112"/>
              </a:xfrm>
              <a:grpFill/>
            </p:grpSpPr>
            <p:sp>
              <p:nvSpPr>
                <p:cNvPr id="393" name="Freeform 14">
                  <a:extLst>
                    <a:ext uri="{FF2B5EF4-FFF2-40B4-BE49-F238E27FC236}">
                      <a16:creationId xmlns:a16="http://schemas.microsoft.com/office/drawing/2014/main" id="{A576EF5F-C18B-486D-8F7F-6BA0F975FD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0" y="1960"/>
                  <a:ext cx="56" cy="16"/>
                </a:xfrm>
                <a:custGeom>
                  <a:avLst/>
                  <a:gdLst>
                    <a:gd name="T0" fmla="*/ 8 w 56"/>
                    <a:gd name="T1" fmla="*/ 16 h 16"/>
                    <a:gd name="T2" fmla="*/ 48 w 56"/>
                    <a:gd name="T3" fmla="*/ 16 h 16"/>
                    <a:gd name="T4" fmla="*/ 56 w 56"/>
                    <a:gd name="T5" fmla="*/ 0 h 16"/>
                    <a:gd name="T6" fmla="*/ 40 w 56"/>
                    <a:gd name="T7" fmla="*/ 8 h 16"/>
                    <a:gd name="T8" fmla="*/ 8 w 56"/>
                    <a:gd name="T9" fmla="*/ 8 h 16"/>
                    <a:gd name="T10" fmla="*/ 0 w 56"/>
                    <a:gd name="T11" fmla="*/ 16 h 16"/>
                    <a:gd name="T12" fmla="*/ 8 w 56"/>
                    <a:gd name="T13" fmla="*/ 16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6"/>
                    <a:gd name="T22" fmla="*/ 0 h 16"/>
                    <a:gd name="T23" fmla="*/ 56 w 5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6" h="16">
                      <a:moveTo>
                        <a:pt x="8" y="16"/>
                      </a:moveTo>
                      <a:lnTo>
                        <a:pt x="48" y="16"/>
                      </a:lnTo>
                      <a:lnTo>
                        <a:pt x="56" y="0"/>
                      </a:lnTo>
                      <a:lnTo>
                        <a:pt x="40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6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Freeform 15">
                  <a:extLst>
                    <a:ext uri="{FF2B5EF4-FFF2-40B4-BE49-F238E27FC236}">
                      <a16:creationId xmlns:a16="http://schemas.microsoft.com/office/drawing/2014/main" id="{548B94CD-2AB8-49F2-948C-6830F9684F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2" y="1984"/>
                  <a:ext cx="64" cy="16"/>
                </a:xfrm>
                <a:custGeom>
                  <a:avLst/>
                  <a:gdLst>
                    <a:gd name="T0" fmla="*/ 0 w 64"/>
                    <a:gd name="T1" fmla="*/ 16 h 16"/>
                    <a:gd name="T2" fmla="*/ 16 w 64"/>
                    <a:gd name="T3" fmla="*/ 16 h 16"/>
                    <a:gd name="T4" fmla="*/ 64 w 64"/>
                    <a:gd name="T5" fmla="*/ 0 h 16"/>
                    <a:gd name="T6" fmla="*/ 24 w 64"/>
                    <a:gd name="T7" fmla="*/ 0 h 16"/>
                    <a:gd name="T8" fmla="*/ 0 w 64"/>
                    <a:gd name="T9" fmla="*/ 16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4"/>
                    <a:gd name="T16" fmla="*/ 0 h 16"/>
                    <a:gd name="T17" fmla="*/ 64 w 64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4" h="16">
                      <a:moveTo>
                        <a:pt x="0" y="16"/>
                      </a:moveTo>
                      <a:lnTo>
                        <a:pt x="16" y="16"/>
                      </a:lnTo>
                      <a:lnTo>
                        <a:pt x="64" y="0"/>
                      </a:lnTo>
                      <a:lnTo>
                        <a:pt x="24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6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Freeform 16">
                  <a:extLst>
                    <a:ext uri="{FF2B5EF4-FFF2-40B4-BE49-F238E27FC236}">
                      <a16:creationId xmlns:a16="http://schemas.microsoft.com/office/drawing/2014/main" id="{57E9A971-8E96-43F8-9DAF-2B2B0A648C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6" y="1928"/>
                  <a:ext cx="120" cy="72"/>
                </a:xfrm>
                <a:custGeom>
                  <a:avLst/>
                  <a:gdLst>
                    <a:gd name="T0" fmla="*/ 72 w 120"/>
                    <a:gd name="T1" fmla="*/ 0 h 72"/>
                    <a:gd name="T2" fmla="*/ 72 w 120"/>
                    <a:gd name="T3" fmla="*/ 8 h 72"/>
                    <a:gd name="T4" fmla="*/ 40 w 120"/>
                    <a:gd name="T5" fmla="*/ 8 h 72"/>
                    <a:gd name="T6" fmla="*/ 16 w 120"/>
                    <a:gd name="T7" fmla="*/ 32 h 72"/>
                    <a:gd name="T8" fmla="*/ 32 w 120"/>
                    <a:gd name="T9" fmla="*/ 24 h 72"/>
                    <a:gd name="T10" fmla="*/ 8 w 120"/>
                    <a:gd name="T11" fmla="*/ 48 h 72"/>
                    <a:gd name="T12" fmla="*/ 0 w 120"/>
                    <a:gd name="T13" fmla="*/ 64 h 72"/>
                    <a:gd name="T14" fmla="*/ 0 w 120"/>
                    <a:gd name="T15" fmla="*/ 72 h 72"/>
                    <a:gd name="T16" fmla="*/ 8 w 120"/>
                    <a:gd name="T17" fmla="*/ 72 h 72"/>
                    <a:gd name="T18" fmla="*/ 16 w 120"/>
                    <a:gd name="T19" fmla="*/ 64 h 72"/>
                    <a:gd name="T20" fmla="*/ 32 w 120"/>
                    <a:gd name="T21" fmla="*/ 40 h 72"/>
                    <a:gd name="T22" fmla="*/ 40 w 120"/>
                    <a:gd name="T23" fmla="*/ 24 h 72"/>
                    <a:gd name="T24" fmla="*/ 64 w 120"/>
                    <a:gd name="T25" fmla="*/ 16 h 72"/>
                    <a:gd name="T26" fmla="*/ 72 w 120"/>
                    <a:gd name="T27" fmla="*/ 16 h 72"/>
                    <a:gd name="T28" fmla="*/ 72 w 120"/>
                    <a:gd name="T29" fmla="*/ 32 h 72"/>
                    <a:gd name="T30" fmla="*/ 64 w 120"/>
                    <a:gd name="T31" fmla="*/ 40 h 72"/>
                    <a:gd name="T32" fmla="*/ 72 w 120"/>
                    <a:gd name="T33" fmla="*/ 40 h 72"/>
                    <a:gd name="T34" fmla="*/ 72 w 120"/>
                    <a:gd name="T35" fmla="*/ 48 h 72"/>
                    <a:gd name="T36" fmla="*/ 80 w 120"/>
                    <a:gd name="T37" fmla="*/ 48 h 72"/>
                    <a:gd name="T38" fmla="*/ 96 w 120"/>
                    <a:gd name="T39" fmla="*/ 16 h 72"/>
                    <a:gd name="T40" fmla="*/ 112 w 120"/>
                    <a:gd name="T41" fmla="*/ 32 h 72"/>
                    <a:gd name="T42" fmla="*/ 120 w 120"/>
                    <a:gd name="T43" fmla="*/ 24 h 72"/>
                    <a:gd name="T44" fmla="*/ 112 w 120"/>
                    <a:gd name="T45" fmla="*/ 8 h 72"/>
                    <a:gd name="T46" fmla="*/ 72 w 120"/>
                    <a:gd name="T47" fmla="*/ 0 h 7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20"/>
                    <a:gd name="T73" fmla="*/ 0 h 72"/>
                    <a:gd name="T74" fmla="*/ 120 w 120"/>
                    <a:gd name="T75" fmla="*/ 72 h 7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20" h="72">
                      <a:moveTo>
                        <a:pt x="72" y="0"/>
                      </a:moveTo>
                      <a:lnTo>
                        <a:pt x="72" y="8"/>
                      </a:lnTo>
                      <a:lnTo>
                        <a:pt x="40" y="8"/>
                      </a:lnTo>
                      <a:lnTo>
                        <a:pt x="16" y="32"/>
                      </a:lnTo>
                      <a:lnTo>
                        <a:pt x="32" y="24"/>
                      </a:lnTo>
                      <a:lnTo>
                        <a:pt x="8" y="48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64"/>
                      </a:lnTo>
                      <a:lnTo>
                        <a:pt x="32" y="40"/>
                      </a:lnTo>
                      <a:lnTo>
                        <a:pt x="40" y="24"/>
                      </a:lnTo>
                      <a:lnTo>
                        <a:pt x="64" y="16"/>
                      </a:lnTo>
                      <a:lnTo>
                        <a:pt x="72" y="16"/>
                      </a:lnTo>
                      <a:lnTo>
                        <a:pt x="72" y="32"/>
                      </a:lnTo>
                      <a:lnTo>
                        <a:pt x="64" y="40"/>
                      </a:lnTo>
                      <a:lnTo>
                        <a:pt x="72" y="40"/>
                      </a:lnTo>
                      <a:lnTo>
                        <a:pt x="72" y="48"/>
                      </a:lnTo>
                      <a:lnTo>
                        <a:pt x="80" y="48"/>
                      </a:lnTo>
                      <a:lnTo>
                        <a:pt x="96" y="16"/>
                      </a:lnTo>
                      <a:lnTo>
                        <a:pt x="112" y="32"/>
                      </a:lnTo>
                      <a:lnTo>
                        <a:pt x="120" y="24"/>
                      </a:lnTo>
                      <a:lnTo>
                        <a:pt x="112" y="8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6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Freeform 17">
                  <a:extLst>
                    <a:ext uri="{FF2B5EF4-FFF2-40B4-BE49-F238E27FC236}">
                      <a16:creationId xmlns:a16="http://schemas.microsoft.com/office/drawing/2014/main" id="{DB47FE74-CB52-45CC-AF2B-69DA042C99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0" y="1888"/>
                  <a:ext cx="96" cy="40"/>
                </a:xfrm>
                <a:custGeom>
                  <a:avLst/>
                  <a:gdLst>
                    <a:gd name="T0" fmla="*/ 88 w 96"/>
                    <a:gd name="T1" fmla="*/ 40 h 40"/>
                    <a:gd name="T2" fmla="*/ 96 w 96"/>
                    <a:gd name="T3" fmla="*/ 16 h 40"/>
                    <a:gd name="T4" fmla="*/ 80 w 96"/>
                    <a:gd name="T5" fmla="*/ 16 h 40"/>
                    <a:gd name="T6" fmla="*/ 80 w 96"/>
                    <a:gd name="T7" fmla="*/ 8 h 40"/>
                    <a:gd name="T8" fmla="*/ 64 w 96"/>
                    <a:gd name="T9" fmla="*/ 0 h 40"/>
                    <a:gd name="T10" fmla="*/ 32 w 96"/>
                    <a:gd name="T11" fmla="*/ 16 h 40"/>
                    <a:gd name="T12" fmla="*/ 40 w 96"/>
                    <a:gd name="T13" fmla="*/ 16 h 40"/>
                    <a:gd name="T14" fmla="*/ 32 w 96"/>
                    <a:gd name="T15" fmla="*/ 16 h 40"/>
                    <a:gd name="T16" fmla="*/ 0 w 96"/>
                    <a:gd name="T17" fmla="*/ 40 h 40"/>
                    <a:gd name="T18" fmla="*/ 16 w 96"/>
                    <a:gd name="T19" fmla="*/ 32 h 40"/>
                    <a:gd name="T20" fmla="*/ 16 w 96"/>
                    <a:gd name="T21" fmla="*/ 40 h 40"/>
                    <a:gd name="T22" fmla="*/ 56 w 96"/>
                    <a:gd name="T23" fmla="*/ 24 h 40"/>
                    <a:gd name="T24" fmla="*/ 40 w 96"/>
                    <a:gd name="T25" fmla="*/ 40 h 40"/>
                    <a:gd name="T26" fmla="*/ 56 w 96"/>
                    <a:gd name="T27" fmla="*/ 32 h 40"/>
                    <a:gd name="T28" fmla="*/ 56 w 96"/>
                    <a:gd name="T29" fmla="*/ 40 h 40"/>
                    <a:gd name="T30" fmla="*/ 88 w 96"/>
                    <a:gd name="T31" fmla="*/ 40 h 40"/>
                    <a:gd name="T32" fmla="*/ 80 w 96"/>
                    <a:gd name="T33" fmla="*/ 40 h 40"/>
                    <a:gd name="T34" fmla="*/ 88 w 96"/>
                    <a:gd name="T35" fmla="*/ 40 h 4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96"/>
                    <a:gd name="T55" fmla="*/ 0 h 40"/>
                    <a:gd name="T56" fmla="*/ 96 w 96"/>
                    <a:gd name="T57" fmla="*/ 40 h 4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96" h="40">
                      <a:moveTo>
                        <a:pt x="88" y="40"/>
                      </a:moveTo>
                      <a:lnTo>
                        <a:pt x="96" y="16"/>
                      </a:lnTo>
                      <a:lnTo>
                        <a:pt x="80" y="16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0" y="40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56" y="24"/>
                      </a:lnTo>
                      <a:lnTo>
                        <a:pt x="40" y="40"/>
                      </a:lnTo>
                      <a:lnTo>
                        <a:pt x="56" y="32"/>
                      </a:lnTo>
                      <a:lnTo>
                        <a:pt x="56" y="40"/>
                      </a:lnTo>
                      <a:lnTo>
                        <a:pt x="88" y="40"/>
                      </a:lnTo>
                      <a:lnTo>
                        <a:pt x="80" y="40"/>
                      </a:lnTo>
                      <a:lnTo>
                        <a:pt x="88" y="4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6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92" name="Freeform 18">
                <a:extLst>
                  <a:ext uri="{FF2B5EF4-FFF2-40B4-BE49-F238E27FC236}">
                    <a16:creationId xmlns:a16="http://schemas.microsoft.com/office/drawing/2014/main" id="{8DDEE2D9-B127-4629-BC04-3965E1507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" y="1832"/>
                <a:ext cx="16" cy="40"/>
              </a:xfrm>
              <a:custGeom>
                <a:avLst/>
                <a:gdLst>
                  <a:gd name="T0" fmla="*/ 0 w 16"/>
                  <a:gd name="T1" fmla="*/ 0 h 40"/>
                  <a:gd name="T2" fmla="*/ 0 w 16"/>
                  <a:gd name="T3" fmla="*/ 8 h 40"/>
                  <a:gd name="T4" fmla="*/ 8 w 16"/>
                  <a:gd name="T5" fmla="*/ 0 h 40"/>
                  <a:gd name="T6" fmla="*/ 8 w 16"/>
                  <a:gd name="T7" fmla="*/ 8 h 40"/>
                  <a:gd name="T8" fmla="*/ 0 w 16"/>
                  <a:gd name="T9" fmla="*/ 16 h 40"/>
                  <a:gd name="T10" fmla="*/ 8 w 16"/>
                  <a:gd name="T11" fmla="*/ 24 h 40"/>
                  <a:gd name="T12" fmla="*/ 0 w 16"/>
                  <a:gd name="T13" fmla="*/ 40 h 40"/>
                  <a:gd name="T14" fmla="*/ 8 w 16"/>
                  <a:gd name="T15" fmla="*/ 40 h 40"/>
                  <a:gd name="T16" fmla="*/ 8 w 16"/>
                  <a:gd name="T17" fmla="*/ 24 h 40"/>
                  <a:gd name="T18" fmla="*/ 16 w 16"/>
                  <a:gd name="T19" fmla="*/ 24 h 40"/>
                  <a:gd name="T20" fmla="*/ 0 w 16"/>
                  <a:gd name="T21" fmla="*/ 24 h 40"/>
                  <a:gd name="T22" fmla="*/ 16 w 16"/>
                  <a:gd name="T23" fmla="*/ 8 h 40"/>
                  <a:gd name="T24" fmla="*/ 8 w 16"/>
                  <a:gd name="T25" fmla="*/ 0 h 40"/>
                  <a:gd name="T26" fmla="*/ 0 w 16"/>
                  <a:gd name="T27" fmla="*/ 0 h 4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6"/>
                  <a:gd name="T43" fmla="*/ 0 h 40"/>
                  <a:gd name="T44" fmla="*/ 16 w 16"/>
                  <a:gd name="T45" fmla="*/ 40 h 4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6" h="40">
                    <a:moveTo>
                      <a:pt x="0" y="0"/>
                    </a:moveTo>
                    <a:lnTo>
                      <a:pt x="0" y="8"/>
                    </a:lnTo>
                    <a:lnTo>
                      <a:pt x="8" y="0"/>
                    </a:lnTo>
                    <a:lnTo>
                      <a:pt x="8" y="8"/>
                    </a:lnTo>
                    <a:lnTo>
                      <a:pt x="0" y="16"/>
                    </a:lnTo>
                    <a:lnTo>
                      <a:pt x="8" y="24"/>
                    </a:lnTo>
                    <a:lnTo>
                      <a:pt x="0" y="40"/>
                    </a:lnTo>
                    <a:lnTo>
                      <a:pt x="8" y="40"/>
                    </a:lnTo>
                    <a:lnTo>
                      <a:pt x="8" y="24"/>
                    </a:lnTo>
                    <a:lnTo>
                      <a:pt x="16" y="24"/>
                    </a:lnTo>
                    <a:lnTo>
                      <a:pt x="0" y="24"/>
                    </a:lnTo>
                    <a:lnTo>
                      <a:pt x="16" y="8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2" name="Group 19">
              <a:extLst>
                <a:ext uri="{FF2B5EF4-FFF2-40B4-BE49-F238E27FC236}">
                  <a16:creationId xmlns:a16="http://schemas.microsoft.com/office/drawing/2014/main" id="{9DF90CAC-CCB4-43E2-8519-CFFB87C88257}"/>
                </a:ext>
              </a:extLst>
            </p:cNvPr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112809" y="2001249"/>
              <a:ext cx="2462968" cy="650962"/>
              <a:chOff x="3484" y="1696"/>
              <a:chExt cx="904" cy="272"/>
            </a:xfrm>
            <a:solidFill>
              <a:schemeClr val="bg1">
                <a:lumMod val="85000"/>
              </a:schemeClr>
            </a:solidFill>
          </p:grpSpPr>
          <p:sp>
            <p:nvSpPr>
              <p:cNvPr id="381" name="Freeform 20">
                <a:extLst>
                  <a:ext uri="{FF2B5EF4-FFF2-40B4-BE49-F238E27FC236}">
                    <a16:creationId xmlns:a16="http://schemas.microsoft.com/office/drawing/2014/main" id="{51E524A1-A413-47B3-A357-8D286968E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2" y="1928"/>
                <a:ext cx="40" cy="40"/>
              </a:xfrm>
              <a:custGeom>
                <a:avLst/>
                <a:gdLst>
                  <a:gd name="T0" fmla="*/ 0 w 40"/>
                  <a:gd name="T1" fmla="*/ 24 h 40"/>
                  <a:gd name="T2" fmla="*/ 0 w 40"/>
                  <a:gd name="T3" fmla="*/ 40 h 40"/>
                  <a:gd name="T4" fmla="*/ 32 w 40"/>
                  <a:gd name="T5" fmla="*/ 40 h 40"/>
                  <a:gd name="T6" fmla="*/ 32 w 40"/>
                  <a:gd name="T7" fmla="*/ 32 h 40"/>
                  <a:gd name="T8" fmla="*/ 32 w 40"/>
                  <a:gd name="T9" fmla="*/ 24 h 40"/>
                  <a:gd name="T10" fmla="*/ 40 w 40"/>
                  <a:gd name="T11" fmla="*/ 24 h 40"/>
                  <a:gd name="T12" fmla="*/ 24 w 40"/>
                  <a:gd name="T13" fmla="*/ 8 h 40"/>
                  <a:gd name="T14" fmla="*/ 32 w 40"/>
                  <a:gd name="T15" fmla="*/ 0 h 40"/>
                  <a:gd name="T16" fmla="*/ 16 w 40"/>
                  <a:gd name="T17" fmla="*/ 0 h 40"/>
                  <a:gd name="T18" fmla="*/ 16 w 40"/>
                  <a:gd name="T19" fmla="*/ 8 h 40"/>
                  <a:gd name="T20" fmla="*/ 8 w 40"/>
                  <a:gd name="T21" fmla="*/ 0 h 40"/>
                  <a:gd name="T22" fmla="*/ 8 w 40"/>
                  <a:gd name="T23" fmla="*/ 8 h 40"/>
                  <a:gd name="T24" fmla="*/ 0 w 40"/>
                  <a:gd name="T25" fmla="*/ 8 h 40"/>
                  <a:gd name="T26" fmla="*/ 0 w 40"/>
                  <a:gd name="T27" fmla="*/ 24 h 4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0"/>
                  <a:gd name="T43" fmla="*/ 0 h 40"/>
                  <a:gd name="T44" fmla="*/ 40 w 40"/>
                  <a:gd name="T45" fmla="*/ 40 h 4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0" h="40">
                    <a:moveTo>
                      <a:pt x="0" y="24"/>
                    </a:moveTo>
                    <a:lnTo>
                      <a:pt x="0" y="40"/>
                    </a:lnTo>
                    <a:lnTo>
                      <a:pt x="32" y="40"/>
                    </a:lnTo>
                    <a:lnTo>
                      <a:pt x="32" y="32"/>
                    </a:lnTo>
                    <a:lnTo>
                      <a:pt x="32" y="24"/>
                    </a:lnTo>
                    <a:lnTo>
                      <a:pt x="40" y="24"/>
                    </a:lnTo>
                    <a:lnTo>
                      <a:pt x="24" y="8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16" y="8"/>
                    </a:lnTo>
                    <a:lnTo>
                      <a:pt x="8" y="0"/>
                    </a:lnTo>
                    <a:lnTo>
                      <a:pt x="8" y="8"/>
                    </a:lnTo>
                    <a:lnTo>
                      <a:pt x="0" y="8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2" name="Freeform 21">
                <a:extLst>
                  <a:ext uri="{FF2B5EF4-FFF2-40B4-BE49-F238E27FC236}">
                    <a16:creationId xmlns:a16="http://schemas.microsoft.com/office/drawing/2014/main" id="{68E60088-255E-4497-88E3-5EF476143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8" y="1928"/>
                <a:ext cx="64" cy="24"/>
              </a:xfrm>
              <a:custGeom>
                <a:avLst/>
                <a:gdLst>
                  <a:gd name="T0" fmla="*/ 0 w 64"/>
                  <a:gd name="T1" fmla="*/ 16 h 24"/>
                  <a:gd name="T2" fmla="*/ 8 w 64"/>
                  <a:gd name="T3" fmla="*/ 24 h 24"/>
                  <a:gd name="T4" fmla="*/ 8 w 64"/>
                  <a:gd name="T5" fmla="*/ 8 h 24"/>
                  <a:gd name="T6" fmla="*/ 16 w 64"/>
                  <a:gd name="T7" fmla="*/ 0 h 24"/>
                  <a:gd name="T8" fmla="*/ 40 w 64"/>
                  <a:gd name="T9" fmla="*/ 0 h 24"/>
                  <a:gd name="T10" fmla="*/ 48 w 64"/>
                  <a:gd name="T11" fmla="*/ 0 h 24"/>
                  <a:gd name="T12" fmla="*/ 64 w 64"/>
                  <a:gd name="T13" fmla="*/ 0 h 24"/>
                  <a:gd name="T14" fmla="*/ 8 w 64"/>
                  <a:gd name="T15" fmla="*/ 0 h 24"/>
                  <a:gd name="T16" fmla="*/ 0 w 64"/>
                  <a:gd name="T17" fmla="*/ 8 h 24"/>
                  <a:gd name="T18" fmla="*/ 0 w 64"/>
                  <a:gd name="T19" fmla="*/ 16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4"/>
                  <a:gd name="T31" fmla="*/ 0 h 24"/>
                  <a:gd name="T32" fmla="*/ 64 w 64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4" h="24">
                    <a:moveTo>
                      <a:pt x="0" y="16"/>
                    </a:moveTo>
                    <a:lnTo>
                      <a:pt x="8" y="24"/>
                    </a:lnTo>
                    <a:lnTo>
                      <a:pt x="8" y="8"/>
                    </a:lnTo>
                    <a:lnTo>
                      <a:pt x="16" y="0"/>
                    </a:lnTo>
                    <a:lnTo>
                      <a:pt x="40" y="0"/>
                    </a:lnTo>
                    <a:lnTo>
                      <a:pt x="48" y="0"/>
                    </a:lnTo>
                    <a:lnTo>
                      <a:pt x="64" y="0"/>
                    </a:lnTo>
                    <a:lnTo>
                      <a:pt x="8" y="0"/>
                    </a:lnTo>
                    <a:lnTo>
                      <a:pt x="0" y="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3" name="Freeform 22">
                <a:extLst>
                  <a:ext uri="{FF2B5EF4-FFF2-40B4-BE49-F238E27FC236}">
                    <a16:creationId xmlns:a16="http://schemas.microsoft.com/office/drawing/2014/main" id="{C28BEC84-59BC-4700-A10E-94BF384865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8" y="1792"/>
                <a:ext cx="40" cy="64"/>
              </a:xfrm>
              <a:custGeom>
                <a:avLst/>
                <a:gdLst>
                  <a:gd name="T0" fmla="*/ 0 w 40"/>
                  <a:gd name="T1" fmla="*/ 64 h 64"/>
                  <a:gd name="T2" fmla="*/ 8 w 40"/>
                  <a:gd name="T3" fmla="*/ 64 h 64"/>
                  <a:gd name="T4" fmla="*/ 24 w 40"/>
                  <a:gd name="T5" fmla="*/ 64 h 64"/>
                  <a:gd name="T6" fmla="*/ 24 w 40"/>
                  <a:gd name="T7" fmla="*/ 56 h 64"/>
                  <a:gd name="T8" fmla="*/ 40 w 40"/>
                  <a:gd name="T9" fmla="*/ 48 h 64"/>
                  <a:gd name="T10" fmla="*/ 40 w 40"/>
                  <a:gd name="T11" fmla="*/ 24 h 64"/>
                  <a:gd name="T12" fmla="*/ 32 w 40"/>
                  <a:gd name="T13" fmla="*/ 0 h 64"/>
                  <a:gd name="T14" fmla="*/ 24 w 40"/>
                  <a:gd name="T15" fmla="*/ 0 h 64"/>
                  <a:gd name="T16" fmla="*/ 32 w 40"/>
                  <a:gd name="T17" fmla="*/ 24 h 64"/>
                  <a:gd name="T18" fmla="*/ 16 w 40"/>
                  <a:gd name="T19" fmla="*/ 56 h 64"/>
                  <a:gd name="T20" fmla="*/ 0 w 40"/>
                  <a:gd name="T21" fmla="*/ 64 h 6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64"/>
                  <a:gd name="T35" fmla="*/ 40 w 40"/>
                  <a:gd name="T36" fmla="*/ 64 h 6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64">
                    <a:moveTo>
                      <a:pt x="0" y="64"/>
                    </a:moveTo>
                    <a:lnTo>
                      <a:pt x="8" y="64"/>
                    </a:lnTo>
                    <a:lnTo>
                      <a:pt x="24" y="64"/>
                    </a:lnTo>
                    <a:lnTo>
                      <a:pt x="24" y="56"/>
                    </a:lnTo>
                    <a:lnTo>
                      <a:pt x="40" y="48"/>
                    </a:lnTo>
                    <a:lnTo>
                      <a:pt x="40" y="24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32" y="24"/>
                    </a:lnTo>
                    <a:lnTo>
                      <a:pt x="16" y="56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4" name="Freeform 23">
                <a:extLst>
                  <a:ext uri="{FF2B5EF4-FFF2-40B4-BE49-F238E27FC236}">
                    <a16:creationId xmlns:a16="http://schemas.microsoft.com/office/drawing/2014/main" id="{2219094C-A0F7-493A-A120-CE964E312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4" y="1712"/>
                <a:ext cx="32" cy="24"/>
              </a:xfrm>
              <a:custGeom>
                <a:avLst/>
                <a:gdLst>
                  <a:gd name="T0" fmla="*/ 0 w 32"/>
                  <a:gd name="T1" fmla="*/ 8 h 24"/>
                  <a:gd name="T2" fmla="*/ 16 w 32"/>
                  <a:gd name="T3" fmla="*/ 24 h 24"/>
                  <a:gd name="T4" fmla="*/ 32 w 32"/>
                  <a:gd name="T5" fmla="*/ 16 h 24"/>
                  <a:gd name="T6" fmla="*/ 24 w 32"/>
                  <a:gd name="T7" fmla="*/ 8 h 24"/>
                  <a:gd name="T8" fmla="*/ 16 w 32"/>
                  <a:gd name="T9" fmla="*/ 0 h 24"/>
                  <a:gd name="T10" fmla="*/ 8 w 32"/>
                  <a:gd name="T11" fmla="*/ 0 h 24"/>
                  <a:gd name="T12" fmla="*/ 0 w 32"/>
                  <a:gd name="T13" fmla="*/ 8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24"/>
                  <a:gd name="T23" fmla="*/ 32 w 3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24">
                    <a:moveTo>
                      <a:pt x="0" y="8"/>
                    </a:moveTo>
                    <a:lnTo>
                      <a:pt x="16" y="24"/>
                    </a:lnTo>
                    <a:lnTo>
                      <a:pt x="32" y="16"/>
                    </a:lnTo>
                    <a:lnTo>
                      <a:pt x="24" y="8"/>
                    </a:lnTo>
                    <a:lnTo>
                      <a:pt x="16" y="0"/>
                    </a:lnTo>
                    <a:lnTo>
                      <a:pt x="8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5" name="Freeform 24">
                <a:extLst>
                  <a:ext uri="{FF2B5EF4-FFF2-40B4-BE49-F238E27FC236}">
                    <a16:creationId xmlns:a16="http://schemas.microsoft.com/office/drawing/2014/main" id="{9B70A73D-4819-4DDF-94D0-0706F75A2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1696"/>
                <a:ext cx="24" cy="24"/>
              </a:xfrm>
              <a:custGeom>
                <a:avLst/>
                <a:gdLst>
                  <a:gd name="T0" fmla="*/ 8 w 24"/>
                  <a:gd name="T1" fmla="*/ 16 h 24"/>
                  <a:gd name="T2" fmla="*/ 16 w 24"/>
                  <a:gd name="T3" fmla="*/ 16 h 24"/>
                  <a:gd name="T4" fmla="*/ 16 w 24"/>
                  <a:gd name="T5" fmla="*/ 24 h 24"/>
                  <a:gd name="T6" fmla="*/ 24 w 24"/>
                  <a:gd name="T7" fmla="*/ 24 h 24"/>
                  <a:gd name="T8" fmla="*/ 16 w 24"/>
                  <a:gd name="T9" fmla="*/ 8 h 24"/>
                  <a:gd name="T10" fmla="*/ 8 w 24"/>
                  <a:gd name="T11" fmla="*/ 0 h 24"/>
                  <a:gd name="T12" fmla="*/ 0 w 24"/>
                  <a:gd name="T13" fmla="*/ 0 h 24"/>
                  <a:gd name="T14" fmla="*/ 16 w 24"/>
                  <a:gd name="T15" fmla="*/ 8 h 24"/>
                  <a:gd name="T16" fmla="*/ 8 w 24"/>
                  <a:gd name="T17" fmla="*/ 8 h 24"/>
                  <a:gd name="T18" fmla="*/ 8 w 24"/>
                  <a:gd name="T19" fmla="*/ 16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"/>
                  <a:gd name="T31" fmla="*/ 0 h 24"/>
                  <a:gd name="T32" fmla="*/ 24 w 24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" h="24">
                    <a:moveTo>
                      <a:pt x="8" y="16"/>
                    </a:moveTo>
                    <a:lnTo>
                      <a:pt x="16" y="16"/>
                    </a:lnTo>
                    <a:lnTo>
                      <a:pt x="16" y="24"/>
                    </a:lnTo>
                    <a:lnTo>
                      <a:pt x="24" y="24"/>
                    </a:lnTo>
                    <a:lnTo>
                      <a:pt x="16" y="8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16" y="8"/>
                    </a:lnTo>
                    <a:lnTo>
                      <a:pt x="8" y="8"/>
                    </a:lnTo>
                    <a:lnTo>
                      <a:pt x="8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Group 25">
              <a:extLst>
                <a:ext uri="{FF2B5EF4-FFF2-40B4-BE49-F238E27FC236}">
                  <a16:creationId xmlns:a16="http://schemas.microsoft.com/office/drawing/2014/main" id="{9C8CE607-B3B3-46CB-8B19-5E2E4CF35B72}"/>
                </a:ext>
              </a:extLst>
            </p:cNvPr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32317" y="3725433"/>
              <a:ext cx="806981" cy="1032055"/>
              <a:chOff x="3308" y="2416"/>
              <a:chExt cx="296" cy="432"/>
            </a:xfrm>
            <a:solidFill>
              <a:schemeClr val="bg1">
                <a:lumMod val="85000"/>
              </a:schemeClr>
            </a:solidFill>
          </p:grpSpPr>
          <p:sp>
            <p:nvSpPr>
              <p:cNvPr id="377" name="Freeform 26">
                <a:extLst>
                  <a:ext uri="{FF2B5EF4-FFF2-40B4-BE49-F238E27FC236}">
                    <a16:creationId xmlns:a16="http://schemas.microsoft.com/office/drawing/2014/main" id="{EACF3D31-CD8F-4ECA-816A-3A65EB92D0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8" y="2416"/>
                <a:ext cx="32" cy="24"/>
              </a:xfrm>
              <a:custGeom>
                <a:avLst/>
                <a:gdLst>
                  <a:gd name="T0" fmla="*/ 0 w 32"/>
                  <a:gd name="T1" fmla="*/ 0 h 24"/>
                  <a:gd name="T2" fmla="*/ 16 w 32"/>
                  <a:gd name="T3" fmla="*/ 24 h 24"/>
                  <a:gd name="T4" fmla="*/ 32 w 32"/>
                  <a:gd name="T5" fmla="*/ 16 h 24"/>
                  <a:gd name="T6" fmla="*/ 32 w 32"/>
                  <a:gd name="T7" fmla="*/ 8 h 24"/>
                  <a:gd name="T8" fmla="*/ 16 w 32"/>
                  <a:gd name="T9" fmla="*/ 8 h 24"/>
                  <a:gd name="T10" fmla="*/ 16 w 32"/>
                  <a:gd name="T11" fmla="*/ 0 h 24"/>
                  <a:gd name="T12" fmla="*/ 0 w 32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24"/>
                  <a:gd name="T23" fmla="*/ 32 w 3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24">
                    <a:moveTo>
                      <a:pt x="0" y="0"/>
                    </a:moveTo>
                    <a:lnTo>
                      <a:pt x="16" y="24"/>
                    </a:lnTo>
                    <a:lnTo>
                      <a:pt x="32" y="16"/>
                    </a:lnTo>
                    <a:lnTo>
                      <a:pt x="32" y="8"/>
                    </a:lnTo>
                    <a:lnTo>
                      <a:pt x="16" y="8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8" name="Freeform 27">
                <a:extLst>
                  <a:ext uri="{FF2B5EF4-FFF2-40B4-BE49-F238E27FC236}">
                    <a16:creationId xmlns:a16="http://schemas.microsoft.com/office/drawing/2014/main" id="{6C47A16B-C9E8-4BFC-85AE-733BFB165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" y="2624"/>
                <a:ext cx="40" cy="48"/>
              </a:xfrm>
              <a:custGeom>
                <a:avLst/>
                <a:gdLst>
                  <a:gd name="T0" fmla="*/ 0 w 40"/>
                  <a:gd name="T1" fmla="*/ 40 h 48"/>
                  <a:gd name="T2" fmla="*/ 8 w 40"/>
                  <a:gd name="T3" fmla="*/ 48 h 48"/>
                  <a:gd name="T4" fmla="*/ 8 w 40"/>
                  <a:gd name="T5" fmla="*/ 40 h 48"/>
                  <a:gd name="T6" fmla="*/ 24 w 40"/>
                  <a:gd name="T7" fmla="*/ 48 h 48"/>
                  <a:gd name="T8" fmla="*/ 32 w 40"/>
                  <a:gd name="T9" fmla="*/ 40 h 48"/>
                  <a:gd name="T10" fmla="*/ 24 w 40"/>
                  <a:gd name="T11" fmla="*/ 40 h 48"/>
                  <a:gd name="T12" fmla="*/ 40 w 40"/>
                  <a:gd name="T13" fmla="*/ 16 h 48"/>
                  <a:gd name="T14" fmla="*/ 32 w 40"/>
                  <a:gd name="T15" fmla="*/ 8 h 48"/>
                  <a:gd name="T16" fmla="*/ 24 w 40"/>
                  <a:gd name="T17" fmla="*/ 0 h 48"/>
                  <a:gd name="T18" fmla="*/ 8 w 40"/>
                  <a:gd name="T19" fmla="*/ 8 h 48"/>
                  <a:gd name="T20" fmla="*/ 0 w 40"/>
                  <a:gd name="T21" fmla="*/ 40 h 4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48"/>
                  <a:gd name="T35" fmla="*/ 40 w 40"/>
                  <a:gd name="T36" fmla="*/ 48 h 4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48">
                    <a:moveTo>
                      <a:pt x="0" y="40"/>
                    </a:moveTo>
                    <a:lnTo>
                      <a:pt x="8" y="48"/>
                    </a:lnTo>
                    <a:lnTo>
                      <a:pt x="8" y="40"/>
                    </a:lnTo>
                    <a:lnTo>
                      <a:pt x="24" y="48"/>
                    </a:lnTo>
                    <a:lnTo>
                      <a:pt x="32" y="40"/>
                    </a:lnTo>
                    <a:lnTo>
                      <a:pt x="24" y="40"/>
                    </a:lnTo>
                    <a:lnTo>
                      <a:pt x="40" y="16"/>
                    </a:lnTo>
                    <a:lnTo>
                      <a:pt x="32" y="8"/>
                    </a:lnTo>
                    <a:lnTo>
                      <a:pt x="24" y="0"/>
                    </a:lnTo>
                    <a:lnTo>
                      <a:pt x="8" y="8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9" name="Freeform 28">
                <a:extLst>
                  <a:ext uri="{FF2B5EF4-FFF2-40B4-BE49-F238E27FC236}">
                    <a16:creationId xmlns:a16="http://schemas.microsoft.com/office/drawing/2014/main" id="{93637ED9-FDDE-4B78-87C7-D814A68FD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2680"/>
                <a:ext cx="24" cy="80"/>
              </a:xfrm>
              <a:custGeom>
                <a:avLst/>
                <a:gdLst>
                  <a:gd name="T0" fmla="*/ 0 w 24"/>
                  <a:gd name="T1" fmla="*/ 40 h 80"/>
                  <a:gd name="T2" fmla="*/ 16 w 24"/>
                  <a:gd name="T3" fmla="*/ 64 h 80"/>
                  <a:gd name="T4" fmla="*/ 16 w 24"/>
                  <a:gd name="T5" fmla="*/ 80 h 80"/>
                  <a:gd name="T6" fmla="*/ 24 w 24"/>
                  <a:gd name="T7" fmla="*/ 80 h 80"/>
                  <a:gd name="T8" fmla="*/ 24 w 24"/>
                  <a:gd name="T9" fmla="*/ 56 h 80"/>
                  <a:gd name="T10" fmla="*/ 8 w 24"/>
                  <a:gd name="T11" fmla="*/ 48 h 80"/>
                  <a:gd name="T12" fmla="*/ 16 w 24"/>
                  <a:gd name="T13" fmla="*/ 40 h 80"/>
                  <a:gd name="T14" fmla="*/ 0 w 24"/>
                  <a:gd name="T15" fmla="*/ 0 h 80"/>
                  <a:gd name="T16" fmla="*/ 0 w 24"/>
                  <a:gd name="T17" fmla="*/ 8 h 80"/>
                  <a:gd name="T18" fmla="*/ 0 w 24"/>
                  <a:gd name="T19" fmla="*/ 40 h 8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"/>
                  <a:gd name="T31" fmla="*/ 0 h 80"/>
                  <a:gd name="T32" fmla="*/ 24 w 24"/>
                  <a:gd name="T33" fmla="*/ 80 h 8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" h="80">
                    <a:moveTo>
                      <a:pt x="0" y="40"/>
                    </a:moveTo>
                    <a:lnTo>
                      <a:pt x="16" y="64"/>
                    </a:lnTo>
                    <a:lnTo>
                      <a:pt x="16" y="80"/>
                    </a:lnTo>
                    <a:lnTo>
                      <a:pt x="24" y="80"/>
                    </a:lnTo>
                    <a:lnTo>
                      <a:pt x="24" y="56"/>
                    </a:lnTo>
                    <a:lnTo>
                      <a:pt x="8" y="48"/>
                    </a:lnTo>
                    <a:lnTo>
                      <a:pt x="16" y="40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0" name="Freeform 29">
                <a:extLst>
                  <a:ext uri="{FF2B5EF4-FFF2-40B4-BE49-F238E27FC236}">
                    <a16:creationId xmlns:a16="http://schemas.microsoft.com/office/drawing/2014/main" id="{23DE6CC3-4604-4A62-955D-A56BE9B2C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8" y="2776"/>
                <a:ext cx="16" cy="72"/>
              </a:xfrm>
              <a:custGeom>
                <a:avLst/>
                <a:gdLst>
                  <a:gd name="T0" fmla="*/ 0 w 16"/>
                  <a:gd name="T1" fmla="*/ 40 h 72"/>
                  <a:gd name="T2" fmla="*/ 8 w 16"/>
                  <a:gd name="T3" fmla="*/ 56 h 72"/>
                  <a:gd name="T4" fmla="*/ 16 w 16"/>
                  <a:gd name="T5" fmla="*/ 72 h 72"/>
                  <a:gd name="T6" fmla="*/ 8 w 16"/>
                  <a:gd name="T7" fmla="*/ 48 h 72"/>
                  <a:gd name="T8" fmla="*/ 16 w 16"/>
                  <a:gd name="T9" fmla="*/ 32 h 72"/>
                  <a:gd name="T10" fmla="*/ 8 w 16"/>
                  <a:gd name="T11" fmla="*/ 8 h 72"/>
                  <a:gd name="T12" fmla="*/ 0 w 16"/>
                  <a:gd name="T13" fmla="*/ 0 h 72"/>
                  <a:gd name="T14" fmla="*/ 8 w 16"/>
                  <a:gd name="T15" fmla="*/ 32 h 72"/>
                  <a:gd name="T16" fmla="*/ 0 w 16"/>
                  <a:gd name="T17" fmla="*/ 40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72"/>
                  <a:gd name="T29" fmla="*/ 16 w 16"/>
                  <a:gd name="T30" fmla="*/ 72 h 7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72">
                    <a:moveTo>
                      <a:pt x="0" y="40"/>
                    </a:moveTo>
                    <a:lnTo>
                      <a:pt x="8" y="56"/>
                    </a:lnTo>
                    <a:lnTo>
                      <a:pt x="16" y="72"/>
                    </a:lnTo>
                    <a:lnTo>
                      <a:pt x="8" y="48"/>
                    </a:lnTo>
                    <a:lnTo>
                      <a:pt x="16" y="32"/>
                    </a:lnTo>
                    <a:lnTo>
                      <a:pt x="8" y="8"/>
                    </a:lnTo>
                    <a:lnTo>
                      <a:pt x="0" y="0"/>
                    </a:lnTo>
                    <a:lnTo>
                      <a:pt x="8" y="32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F3A0DCC4-EA46-4241-B54E-22EBE4860C1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629047" y="3781103"/>
              <a:ext cx="262318" cy="191581"/>
            </a:xfrm>
            <a:custGeom>
              <a:avLst/>
              <a:gdLst>
                <a:gd name="T0" fmla="*/ 173303 w 96"/>
                <a:gd name="T1" fmla="*/ 147638 h 80"/>
                <a:gd name="T2" fmla="*/ 190633 w 96"/>
                <a:gd name="T3" fmla="*/ 132874 h 80"/>
                <a:gd name="T4" fmla="*/ 190633 w 96"/>
                <a:gd name="T5" fmla="*/ 118110 h 80"/>
                <a:gd name="T6" fmla="*/ 207963 w 96"/>
                <a:gd name="T7" fmla="*/ 118110 h 80"/>
                <a:gd name="T8" fmla="*/ 190633 w 96"/>
                <a:gd name="T9" fmla="*/ 88583 h 80"/>
                <a:gd name="T10" fmla="*/ 190633 w 96"/>
                <a:gd name="T11" fmla="*/ 59055 h 80"/>
                <a:gd name="T12" fmla="*/ 155972 w 96"/>
                <a:gd name="T13" fmla="*/ 0 h 80"/>
                <a:gd name="T14" fmla="*/ 121312 w 96"/>
                <a:gd name="T15" fmla="*/ 14764 h 80"/>
                <a:gd name="T16" fmla="*/ 103982 w 96"/>
                <a:gd name="T17" fmla="*/ 0 h 80"/>
                <a:gd name="T18" fmla="*/ 34661 w 96"/>
                <a:gd name="T19" fmla="*/ 0 h 80"/>
                <a:gd name="T20" fmla="*/ 34661 w 96"/>
                <a:gd name="T21" fmla="*/ 29528 h 80"/>
                <a:gd name="T22" fmla="*/ 0 w 96"/>
                <a:gd name="T23" fmla="*/ 29528 h 80"/>
                <a:gd name="T24" fmla="*/ 0 w 96"/>
                <a:gd name="T25" fmla="*/ 44291 h 80"/>
                <a:gd name="T26" fmla="*/ 34661 w 96"/>
                <a:gd name="T27" fmla="*/ 88583 h 80"/>
                <a:gd name="T28" fmla="*/ 69321 w 96"/>
                <a:gd name="T29" fmla="*/ 73819 h 80"/>
                <a:gd name="T30" fmla="*/ 103982 w 96"/>
                <a:gd name="T31" fmla="*/ 73819 h 80"/>
                <a:gd name="T32" fmla="*/ 121312 w 96"/>
                <a:gd name="T33" fmla="*/ 103347 h 80"/>
                <a:gd name="T34" fmla="*/ 121312 w 96"/>
                <a:gd name="T35" fmla="*/ 118110 h 80"/>
                <a:gd name="T36" fmla="*/ 138642 w 96"/>
                <a:gd name="T37" fmla="*/ 118110 h 80"/>
                <a:gd name="T38" fmla="*/ 155972 w 96"/>
                <a:gd name="T39" fmla="*/ 147638 h 80"/>
                <a:gd name="T40" fmla="*/ 173303 w 96"/>
                <a:gd name="T41" fmla="*/ 147638 h 8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6"/>
                <a:gd name="T64" fmla="*/ 0 h 80"/>
                <a:gd name="T65" fmla="*/ 96 w 96"/>
                <a:gd name="T66" fmla="*/ 80 h 8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6" h="80">
                  <a:moveTo>
                    <a:pt x="80" y="80"/>
                  </a:moveTo>
                  <a:lnTo>
                    <a:pt x="88" y="72"/>
                  </a:lnTo>
                  <a:lnTo>
                    <a:pt x="88" y="64"/>
                  </a:lnTo>
                  <a:lnTo>
                    <a:pt x="96" y="64"/>
                  </a:lnTo>
                  <a:lnTo>
                    <a:pt x="88" y="48"/>
                  </a:lnTo>
                  <a:lnTo>
                    <a:pt x="88" y="32"/>
                  </a:lnTo>
                  <a:lnTo>
                    <a:pt x="72" y="0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16" y="48"/>
                  </a:lnTo>
                  <a:lnTo>
                    <a:pt x="32" y="40"/>
                  </a:lnTo>
                  <a:lnTo>
                    <a:pt x="48" y="40"/>
                  </a:lnTo>
                  <a:lnTo>
                    <a:pt x="56" y="56"/>
                  </a:lnTo>
                  <a:lnTo>
                    <a:pt x="56" y="64"/>
                  </a:lnTo>
                  <a:lnTo>
                    <a:pt x="64" y="64"/>
                  </a:lnTo>
                  <a:lnTo>
                    <a:pt x="72" y="80"/>
                  </a:lnTo>
                  <a:lnTo>
                    <a:pt x="80" y="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1C1FF87-B15D-400D-9C0A-961C48C067CF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6610233" y="4050964"/>
              <a:ext cx="698845" cy="669503"/>
            </a:xfrm>
            <a:custGeom>
              <a:avLst/>
              <a:gdLst>
                <a:gd name="T0" fmla="*/ 311646 w 256"/>
                <a:gd name="T1" fmla="*/ 14741 h 280"/>
                <a:gd name="T2" fmla="*/ 294333 w 256"/>
                <a:gd name="T3" fmla="*/ 29482 h 280"/>
                <a:gd name="T4" fmla="*/ 242392 w 256"/>
                <a:gd name="T5" fmla="*/ 14741 h 280"/>
                <a:gd name="T6" fmla="*/ 225078 w 256"/>
                <a:gd name="T7" fmla="*/ 0 h 280"/>
                <a:gd name="T8" fmla="*/ 207764 w 256"/>
                <a:gd name="T9" fmla="*/ 0 h 280"/>
                <a:gd name="T10" fmla="*/ 190451 w 256"/>
                <a:gd name="T11" fmla="*/ 44223 h 280"/>
                <a:gd name="T12" fmla="*/ 173137 w 256"/>
                <a:gd name="T13" fmla="*/ 88447 h 280"/>
                <a:gd name="T14" fmla="*/ 155823 w 256"/>
                <a:gd name="T15" fmla="*/ 162152 h 280"/>
                <a:gd name="T16" fmla="*/ 121196 w 256"/>
                <a:gd name="T17" fmla="*/ 206375 h 280"/>
                <a:gd name="T18" fmla="*/ 103882 w 256"/>
                <a:gd name="T19" fmla="*/ 250598 h 280"/>
                <a:gd name="T20" fmla="*/ 69255 w 256"/>
                <a:gd name="T21" fmla="*/ 280081 h 280"/>
                <a:gd name="T22" fmla="*/ 51941 w 256"/>
                <a:gd name="T23" fmla="*/ 265340 h 280"/>
                <a:gd name="T24" fmla="*/ 34627 w 256"/>
                <a:gd name="T25" fmla="*/ 280081 h 280"/>
                <a:gd name="T26" fmla="*/ 17314 w 256"/>
                <a:gd name="T27" fmla="*/ 280081 h 280"/>
                <a:gd name="T28" fmla="*/ 0 w 256"/>
                <a:gd name="T29" fmla="*/ 280081 h 280"/>
                <a:gd name="T30" fmla="*/ 0 w 256"/>
                <a:gd name="T31" fmla="*/ 309563 h 280"/>
                <a:gd name="T32" fmla="*/ 0 w 256"/>
                <a:gd name="T33" fmla="*/ 324304 h 280"/>
                <a:gd name="T34" fmla="*/ 34627 w 256"/>
                <a:gd name="T35" fmla="*/ 309563 h 280"/>
                <a:gd name="T36" fmla="*/ 103882 w 256"/>
                <a:gd name="T37" fmla="*/ 309563 h 280"/>
                <a:gd name="T38" fmla="*/ 121196 w 256"/>
                <a:gd name="T39" fmla="*/ 309563 h 280"/>
                <a:gd name="T40" fmla="*/ 138510 w 256"/>
                <a:gd name="T41" fmla="*/ 353786 h 280"/>
                <a:gd name="T42" fmla="*/ 155823 w 256"/>
                <a:gd name="T43" fmla="*/ 368527 h 280"/>
                <a:gd name="T44" fmla="*/ 207764 w 256"/>
                <a:gd name="T45" fmla="*/ 368527 h 280"/>
                <a:gd name="T46" fmla="*/ 207764 w 256"/>
                <a:gd name="T47" fmla="*/ 339045 h 280"/>
                <a:gd name="T48" fmla="*/ 242392 w 256"/>
                <a:gd name="T49" fmla="*/ 339045 h 280"/>
                <a:gd name="T50" fmla="*/ 277019 w 256"/>
                <a:gd name="T51" fmla="*/ 353786 h 280"/>
                <a:gd name="T52" fmla="*/ 277019 w 256"/>
                <a:gd name="T53" fmla="*/ 412750 h 280"/>
                <a:gd name="T54" fmla="*/ 294333 w 256"/>
                <a:gd name="T55" fmla="*/ 442232 h 280"/>
                <a:gd name="T56" fmla="*/ 277019 w 256"/>
                <a:gd name="T57" fmla="*/ 456974 h 280"/>
                <a:gd name="T58" fmla="*/ 346274 w 256"/>
                <a:gd name="T59" fmla="*/ 442232 h 280"/>
                <a:gd name="T60" fmla="*/ 398215 w 256"/>
                <a:gd name="T61" fmla="*/ 471715 h 280"/>
                <a:gd name="T62" fmla="*/ 415528 w 256"/>
                <a:gd name="T63" fmla="*/ 471715 h 280"/>
                <a:gd name="T64" fmla="*/ 467469 w 256"/>
                <a:gd name="T65" fmla="*/ 501197 h 280"/>
                <a:gd name="T66" fmla="*/ 502097 w 256"/>
                <a:gd name="T67" fmla="*/ 515938 h 280"/>
                <a:gd name="T68" fmla="*/ 502097 w 256"/>
                <a:gd name="T69" fmla="*/ 486456 h 280"/>
                <a:gd name="T70" fmla="*/ 484783 w 256"/>
                <a:gd name="T71" fmla="*/ 486456 h 280"/>
                <a:gd name="T72" fmla="*/ 467469 w 256"/>
                <a:gd name="T73" fmla="*/ 471715 h 280"/>
                <a:gd name="T74" fmla="*/ 484783 w 256"/>
                <a:gd name="T75" fmla="*/ 398009 h 280"/>
                <a:gd name="T76" fmla="*/ 484783 w 256"/>
                <a:gd name="T77" fmla="*/ 383268 h 280"/>
                <a:gd name="T78" fmla="*/ 519411 w 256"/>
                <a:gd name="T79" fmla="*/ 368527 h 280"/>
                <a:gd name="T80" fmla="*/ 536724 w 256"/>
                <a:gd name="T81" fmla="*/ 368527 h 280"/>
                <a:gd name="T82" fmla="*/ 502097 w 256"/>
                <a:gd name="T83" fmla="*/ 324304 h 280"/>
                <a:gd name="T84" fmla="*/ 502097 w 256"/>
                <a:gd name="T85" fmla="*/ 265340 h 280"/>
                <a:gd name="T86" fmla="*/ 502097 w 256"/>
                <a:gd name="T87" fmla="*/ 235857 h 280"/>
                <a:gd name="T88" fmla="*/ 484783 w 256"/>
                <a:gd name="T89" fmla="*/ 221116 h 280"/>
                <a:gd name="T90" fmla="*/ 484783 w 256"/>
                <a:gd name="T91" fmla="*/ 206375 h 280"/>
                <a:gd name="T92" fmla="*/ 502097 w 256"/>
                <a:gd name="T93" fmla="*/ 176893 h 280"/>
                <a:gd name="T94" fmla="*/ 519411 w 256"/>
                <a:gd name="T95" fmla="*/ 132670 h 280"/>
                <a:gd name="T96" fmla="*/ 536724 w 256"/>
                <a:gd name="T97" fmla="*/ 103188 h 280"/>
                <a:gd name="T98" fmla="*/ 554038 w 256"/>
                <a:gd name="T99" fmla="*/ 88447 h 280"/>
                <a:gd name="T100" fmla="*/ 536724 w 256"/>
                <a:gd name="T101" fmla="*/ 73705 h 280"/>
                <a:gd name="T102" fmla="*/ 536724 w 256"/>
                <a:gd name="T103" fmla="*/ 44223 h 280"/>
                <a:gd name="T104" fmla="*/ 502097 w 256"/>
                <a:gd name="T105" fmla="*/ 14741 h 280"/>
                <a:gd name="T106" fmla="*/ 467469 w 256"/>
                <a:gd name="T107" fmla="*/ 14741 h 280"/>
                <a:gd name="T108" fmla="*/ 450156 w 256"/>
                <a:gd name="T109" fmla="*/ 0 h 280"/>
                <a:gd name="T110" fmla="*/ 311646 w 256"/>
                <a:gd name="T111" fmla="*/ 14741 h 28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6"/>
                <a:gd name="T169" fmla="*/ 0 h 280"/>
                <a:gd name="T170" fmla="*/ 256 w 256"/>
                <a:gd name="T171" fmla="*/ 280 h 28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6" h="280">
                  <a:moveTo>
                    <a:pt x="144" y="8"/>
                  </a:moveTo>
                  <a:lnTo>
                    <a:pt x="136" y="16"/>
                  </a:lnTo>
                  <a:lnTo>
                    <a:pt x="112" y="8"/>
                  </a:lnTo>
                  <a:lnTo>
                    <a:pt x="104" y="0"/>
                  </a:lnTo>
                  <a:lnTo>
                    <a:pt x="96" y="0"/>
                  </a:lnTo>
                  <a:lnTo>
                    <a:pt x="88" y="24"/>
                  </a:lnTo>
                  <a:lnTo>
                    <a:pt x="80" y="48"/>
                  </a:lnTo>
                  <a:lnTo>
                    <a:pt x="72" y="88"/>
                  </a:lnTo>
                  <a:lnTo>
                    <a:pt x="56" y="112"/>
                  </a:lnTo>
                  <a:lnTo>
                    <a:pt x="48" y="136"/>
                  </a:lnTo>
                  <a:lnTo>
                    <a:pt x="32" y="152"/>
                  </a:lnTo>
                  <a:lnTo>
                    <a:pt x="24" y="144"/>
                  </a:lnTo>
                  <a:lnTo>
                    <a:pt x="16" y="152"/>
                  </a:lnTo>
                  <a:lnTo>
                    <a:pt x="8" y="152"/>
                  </a:lnTo>
                  <a:lnTo>
                    <a:pt x="0" y="152"/>
                  </a:lnTo>
                  <a:lnTo>
                    <a:pt x="0" y="168"/>
                  </a:lnTo>
                  <a:lnTo>
                    <a:pt x="0" y="176"/>
                  </a:lnTo>
                  <a:lnTo>
                    <a:pt x="16" y="168"/>
                  </a:lnTo>
                  <a:lnTo>
                    <a:pt x="48" y="168"/>
                  </a:lnTo>
                  <a:lnTo>
                    <a:pt x="56" y="168"/>
                  </a:lnTo>
                  <a:lnTo>
                    <a:pt x="64" y="192"/>
                  </a:lnTo>
                  <a:lnTo>
                    <a:pt x="72" y="200"/>
                  </a:lnTo>
                  <a:lnTo>
                    <a:pt x="96" y="200"/>
                  </a:lnTo>
                  <a:lnTo>
                    <a:pt x="96" y="184"/>
                  </a:lnTo>
                  <a:lnTo>
                    <a:pt x="112" y="184"/>
                  </a:lnTo>
                  <a:lnTo>
                    <a:pt x="128" y="192"/>
                  </a:lnTo>
                  <a:lnTo>
                    <a:pt x="128" y="224"/>
                  </a:lnTo>
                  <a:lnTo>
                    <a:pt x="136" y="240"/>
                  </a:lnTo>
                  <a:lnTo>
                    <a:pt x="128" y="248"/>
                  </a:lnTo>
                  <a:lnTo>
                    <a:pt x="160" y="240"/>
                  </a:lnTo>
                  <a:lnTo>
                    <a:pt x="184" y="256"/>
                  </a:lnTo>
                  <a:lnTo>
                    <a:pt x="192" y="256"/>
                  </a:lnTo>
                  <a:lnTo>
                    <a:pt x="216" y="272"/>
                  </a:lnTo>
                  <a:lnTo>
                    <a:pt x="232" y="280"/>
                  </a:lnTo>
                  <a:lnTo>
                    <a:pt x="232" y="264"/>
                  </a:lnTo>
                  <a:lnTo>
                    <a:pt x="224" y="264"/>
                  </a:lnTo>
                  <a:lnTo>
                    <a:pt x="216" y="256"/>
                  </a:lnTo>
                  <a:lnTo>
                    <a:pt x="224" y="216"/>
                  </a:lnTo>
                  <a:lnTo>
                    <a:pt x="224" y="208"/>
                  </a:lnTo>
                  <a:lnTo>
                    <a:pt x="240" y="200"/>
                  </a:lnTo>
                  <a:lnTo>
                    <a:pt x="248" y="200"/>
                  </a:lnTo>
                  <a:lnTo>
                    <a:pt x="232" y="176"/>
                  </a:lnTo>
                  <a:lnTo>
                    <a:pt x="232" y="144"/>
                  </a:lnTo>
                  <a:lnTo>
                    <a:pt x="232" y="128"/>
                  </a:lnTo>
                  <a:lnTo>
                    <a:pt x="224" y="120"/>
                  </a:lnTo>
                  <a:lnTo>
                    <a:pt x="224" y="112"/>
                  </a:lnTo>
                  <a:lnTo>
                    <a:pt x="232" y="96"/>
                  </a:lnTo>
                  <a:lnTo>
                    <a:pt x="240" y="72"/>
                  </a:lnTo>
                  <a:lnTo>
                    <a:pt x="248" y="56"/>
                  </a:lnTo>
                  <a:lnTo>
                    <a:pt x="256" y="48"/>
                  </a:lnTo>
                  <a:lnTo>
                    <a:pt x="248" y="40"/>
                  </a:lnTo>
                  <a:lnTo>
                    <a:pt x="248" y="24"/>
                  </a:lnTo>
                  <a:lnTo>
                    <a:pt x="232" y="8"/>
                  </a:lnTo>
                  <a:lnTo>
                    <a:pt x="216" y="8"/>
                  </a:lnTo>
                  <a:lnTo>
                    <a:pt x="208" y="0"/>
                  </a:lnTo>
                  <a:lnTo>
                    <a:pt x="144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A8A1BDF3-1933-40E7-A892-4EE67E5D1A01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6698340" y="3838783"/>
              <a:ext cx="478579" cy="288401"/>
            </a:xfrm>
            <a:custGeom>
              <a:avLst/>
              <a:gdLst>
                <a:gd name="T0" fmla="*/ 0 w 176"/>
                <a:gd name="T1" fmla="*/ 177800 h 120"/>
                <a:gd name="T2" fmla="*/ 0 w 176"/>
                <a:gd name="T3" fmla="*/ 148167 h 120"/>
                <a:gd name="T4" fmla="*/ 17246 w 176"/>
                <a:gd name="T5" fmla="*/ 103717 h 120"/>
                <a:gd name="T6" fmla="*/ 103476 w 176"/>
                <a:gd name="T7" fmla="*/ 88900 h 120"/>
                <a:gd name="T8" fmla="*/ 120722 w 176"/>
                <a:gd name="T9" fmla="*/ 74083 h 120"/>
                <a:gd name="T10" fmla="*/ 120722 w 176"/>
                <a:gd name="T11" fmla="*/ 59267 h 120"/>
                <a:gd name="T12" fmla="*/ 172460 w 176"/>
                <a:gd name="T13" fmla="*/ 44450 h 120"/>
                <a:gd name="T14" fmla="*/ 206953 w 176"/>
                <a:gd name="T15" fmla="*/ 14817 h 120"/>
                <a:gd name="T16" fmla="*/ 224199 w 176"/>
                <a:gd name="T17" fmla="*/ 0 h 120"/>
                <a:gd name="T18" fmla="*/ 258691 w 176"/>
                <a:gd name="T19" fmla="*/ 29633 h 120"/>
                <a:gd name="T20" fmla="*/ 258691 w 176"/>
                <a:gd name="T21" fmla="*/ 59267 h 120"/>
                <a:gd name="T22" fmla="*/ 293183 w 176"/>
                <a:gd name="T23" fmla="*/ 74083 h 120"/>
                <a:gd name="T24" fmla="*/ 379413 w 176"/>
                <a:gd name="T25" fmla="*/ 162983 h 120"/>
                <a:gd name="T26" fmla="*/ 241445 w 176"/>
                <a:gd name="T27" fmla="*/ 177800 h 120"/>
                <a:gd name="T28" fmla="*/ 224199 w 176"/>
                <a:gd name="T29" fmla="*/ 192617 h 120"/>
                <a:gd name="T30" fmla="*/ 172460 w 176"/>
                <a:gd name="T31" fmla="*/ 177800 h 120"/>
                <a:gd name="T32" fmla="*/ 155214 w 176"/>
                <a:gd name="T33" fmla="*/ 162983 h 120"/>
                <a:gd name="T34" fmla="*/ 137968 w 176"/>
                <a:gd name="T35" fmla="*/ 162983 h 120"/>
                <a:gd name="T36" fmla="*/ 120722 w 176"/>
                <a:gd name="T37" fmla="*/ 207433 h 120"/>
                <a:gd name="T38" fmla="*/ 86230 w 176"/>
                <a:gd name="T39" fmla="*/ 207433 h 120"/>
                <a:gd name="T40" fmla="*/ 68984 w 176"/>
                <a:gd name="T41" fmla="*/ 207433 h 120"/>
                <a:gd name="T42" fmla="*/ 51738 w 176"/>
                <a:gd name="T43" fmla="*/ 207433 h 120"/>
                <a:gd name="T44" fmla="*/ 34492 w 176"/>
                <a:gd name="T45" fmla="*/ 222250 h 120"/>
                <a:gd name="T46" fmla="*/ 0 w 176"/>
                <a:gd name="T47" fmla="*/ 177800 h 12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6"/>
                <a:gd name="T73" fmla="*/ 0 h 120"/>
                <a:gd name="T74" fmla="*/ 176 w 176"/>
                <a:gd name="T75" fmla="*/ 120 h 12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6" h="120">
                  <a:moveTo>
                    <a:pt x="0" y="96"/>
                  </a:moveTo>
                  <a:lnTo>
                    <a:pt x="0" y="80"/>
                  </a:lnTo>
                  <a:lnTo>
                    <a:pt x="8" y="56"/>
                  </a:lnTo>
                  <a:lnTo>
                    <a:pt x="48" y="48"/>
                  </a:lnTo>
                  <a:lnTo>
                    <a:pt x="56" y="40"/>
                  </a:lnTo>
                  <a:lnTo>
                    <a:pt x="56" y="32"/>
                  </a:lnTo>
                  <a:lnTo>
                    <a:pt x="80" y="24"/>
                  </a:lnTo>
                  <a:lnTo>
                    <a:pt x="96" y="8"/>
                  </a:lnTo>
                  <a:lnTo>
                    <a:pt x="104" y="0"/>
                  </a:lnTo>
                  <a:lnTo>
                    <a:pt x="120" y="16"/>
                  </a:lnTo>
                  <a:lnTo>
                    <a:pt x="120" y="32"/>
                  </a:lnTo>
                  <a:lnTo>
                    <a:pt x="136" y="40"/>
                  </a:lnTo>
                  <a:lnTo>
                    <a:pt x="176" y="88"/>
                  </a:lnTo>
                  <a:lnTo>
                    <a:pt x="112" y="96"/>
                  </a:lnTo>
                  <a:lnTo>
                    <a:pt x="104" y="104"/>
                  </a:lnTo>
                  <a:lnTo>
                    <a:pt x="80" y="96"/>
                  </a:lnTo>
                  <a:lnTo>
                    <a:pt x="72" y="88"/>
                  </a:lnTo>
                  <a:lnTo>
                    <a:pt x="64" y="88"/>
                  </a:lnTo>
                  <a:lnTo>
                    <a:pt x="56" y="112"/>
                  </a:lnTo>
                  <a:lnTo>
                    <a:pt x="40" y="112"/>
                  </a:lnTo>
                  <a:lnTo>
                    <a:pt x="32" y="112"/>
                  </a:lnTo>
                  <a:lnTo>
                    <a:pt x="24" y="112"/>
                  </a:lnTo>
                  <a:lnTo>
                    <a:pt x="16" y="12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33">
              <a:extLst>
                <a:ext uri="{FF2B5EF4-FFF2-40B4-BE49-F238E27FC236}">
                  <a16:creationId xmlns:a16="http://schemas.microsoft.com/office/drawing/2014/main" id="{8E0E0A50-B351-49B8-BA4A-3BC6DE36D2E4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7373156" y="3704883"/>
              <a:ext cx="524634" cy="401702"/>
            </a:xfrm>
            <a:custGeom>
              <a:avLst/>
              <a:gdLst>
                <a:gd name="T0" fmla="*/ 259953 w 192"/>
                <a:gd name="T1" fmla="*/ 73705 h 168"/>
                <a:gd name="T2" fmla="*/ 242623 w 192"/>
                <a:gd name="T3" fmla="*/ 103188 h 168"/>
                <a:gd name="T4" fmla="*/ 277283 w 192"/>
                <a:gd name="T5" fmla="*/ 103188 h 168"/>
                <a:gd name="T6" fmla="*/ 277283 w 192"/>
                <a:gd name="T7" fmla="*/ 117929 h 168"/>
                <a:gd name="T8" fmla="*/ 311944 w 192"/>
                <a:gd name="T9" fmla="*/ 162152 h 168"/>
                <a:gd name="T10" fmla="*/ 398595 w 192"/>
                <a:gd name="T11" fmla="*/ 191634 h 168"/>
                <a:gd name="T12" fmla="*/ 415925 w 192"/>
                <a:gd name="T13" fmla="*/ 191634 h 168"/>
                <a:gd name="T14" fmla="*/ 346604 w 192"/>
                <a:gd name="T15" fmla="*/ 265340 h 168"/>
                <a:gd name="T16" fmla="*/ 294614 w 192"/>
                <a:gd name="T17" fmla="*/ 280081 h 168"/>
                <a:gd name="T18" fmla="*/ 242623 w 192"/>
                <a:gd name="T19" fmla="*/ 294822 h 168"/>
                <a:gd name="T20" fmla="*/ 225293 w 192"/>
                <a:gd name="T21" fmla="*/ 294822 h 168"/>
                <a:gd name="T22" fmla="*/ 173302 w 192"/>
                <a:gd name="T23" fmla="*/ 309563 h 168"/>
                <a:gd name="T24" fmla="*/ 138642 w 192"/>
                <a:gd name="T25" fmla="*/ 309563 h 168"/>
                <a:gd name="T26" fmla="*/ 103981 w 192"/>
                <a:gd name="T27" fmla="*/ 280081 h 168"/>
                <a:gd name="T28" fmla="*/ 69321 w 192"/>
                <a:gd name="T29" fmla="*/ 280081 h 168"/>
                <a:gd name="T30" fmla="*/ 69321 w 192"/>
                <a:gd name="T31" fmla="*/ 265340 h 168"/>
                <a:gd name="T32" fmla="*/ 51991 w 192"/>
                <a:gd name="T33" fmla="*/ 250599 h 168"/>
                <a:gd name="T34" fmla="*/ 17330 w 192"/>
                <a:gd name="T35" fmla="*/ 206375 h 168"/>
                <a:gd name="T36" fmla="*/ 0 w 192"/>
                <a:gd name="T37" fmla="*/ 191634 h 168"/>
                <a:gd name="T38" fmla="*/ 0 w 192"/>
                <a:gd name="T39" fmla="*/ 176893 h 168"/>
                <a:gd name="T40" fmla="*/ 17330 w 192"/>
                <a:gd name="T41" fmla="*/ 176893 h 168"/>
                <a:gd name="T42" fmla="*/ 34660 w 192"/>
                <a:gd name="T43" fmla="*/ 117929 h 168"/>
                <a:gd name="T44" fmla="*/ 86651 w 192"/>
                <a:gd name="T45" fmla="*/ 44223 h 168"/>
                <a:gd name="T46" fmla="*/ 86651 w 192"/>
                <a:gd name="T47" fmla="*/ 14741 h 168"/>
                <a:gd name="T48" fmla="*/ 103981 w 192"/>
                <a:gd name="T49" fmla="*/ 14741 h 168"/>
                <a:gd name="T50" fmla="*/ 121311 w 192"/>
                <a:gd name="T51" fmla="*/ 14741 h 168"/>
                <a:gd name="T52" fmla="*/ 121311 w 192"/>
                <a:gd name="T53" fmla="*/ 0 h 168"/>
                <a:gd name="T54" fmla="*/ 138642 w 192"/>
                <a:gd name="T55" fmla="*/ 14741 h 168"/>
                <a:gd name="T56" fmla="*/ 155972 w 192"/>
                <a:gd name="T57" fmla="*/ 0 h 168"/>
                <a:gd name="T58" fmla="*/ 190632 w 192"/>
                <a:gd name="T59" fmla="*/ 14741 h 168"/>
                <a:gd name="T60" fmla="*/ 259953 w 192"/>
                <a:gd name="T61" fmla="*/ 73705 h 16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2"/>
                <a:gd name="T94" fmla="*/ 0 h 168"/>
                <a:gd name="T95" fmla="*/ 192 w 192"/>
                <a:gd name="T96" fmla="*/ 168 h 16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2" h="168">
                  <a:moveTo>
                    <a:pt x="120" y="40"/>
                  </a:moveTo>
                  <a:lnTo>
                    <a:pt x="112" y="56"/>
                  </a:lnTo>
                  <a:lnTo>
                    <a:pt x="128" y="56"/>
                  </a:lnTo>
                  <a:lnTo>
                    <a:pt x="128" y="64"/>
                  </a:lnTo>
                  <a:lnTo>
                    <a:pt x="144" y="88"/>
                  </a:lnTo>
                  <a:lnTo>
                    <a:pt x="184" y="104"/>
                  </a:lnTo>
                  <a:lnTo>
                    <a:pt x="192" y="104"/>
                  </a:lnTo>
                  <a:lnTo>
                    <a:pt x="160" y="144"/>
                  </a:lnTo>
                  <a:lnTo>
                    <a:pt x="136" y="152"/>
                  </a:lnTo>
                  <a:lnTo>
                    <a:pt x="112" y="160"/>
                  </a:lnTo>
                  <a:lnTo>
                    <a:pt x="104" y="160"/>
                  </a:lnTo>
                  <a:lnTo>
                    <a:pt x="80" y="168"/>
                  </a:lnTo>
                  <a:lnTo>
                    <a:pt x="64" y="168"/>
                  </a:lnTo>
                  <a:lnTo>
                    <a:pt x="48" y="152"/>
                  </a:lnTo>
                  <a:lnTo>
                    <a:pt x="32" y="152"/>
                  </a:lnTo>
                  <a:lnTo>
                    <a:pt x="32" y="144"/>
                  </a:lnTo>
                  <a:lnTo>
                    <a:pt x="24" y="136"/>
                  </a:lnTo>
                  <a:lnTo>
                    <a:pt x="8" y="112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8" y="96"/>
                  </a:lnTo>
                  <a:lnTo>
                    <a:pt x="16" y="64"/>
                  </a:lnTo>
                  <a:lnTo>
                    <a:pt x="40" y="24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64" y="8"/>
                  </a:lnTo>
                  <a:lnTo>
                    <a:pt x="72" y="0"/>
                  </a:lnTo>
                  <a:lnTo>
                    <a:pt x="88" y="8"/>
                  </a:lnTo>
                  <a:lnTo>
                    <a:pt x="120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34">
              <a:extLst>
                <a:ext uri="{FF2B5EF4-FFF2-40B4-BE49-F238E27FC236}">
                  <a16:creationId xmlns:a16="http://schemas.microsoft.com/office/drawing/2014/main" id="{8ED83C6A-74ED-4E3D-8758-678FC1108AA0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483288" y="3589523"/>
              <a:ext cx="238289" cy="212181"/>
            </a:xfrm>
            <a:custGeom>
              <a:avLst/>
              <a:gdLst>
                <a:gd name="T0" fmla="*/ 171739 w 88"/>
                <a:gd name="T1" fmla="*/ 163513 h 88"/>
                <a:gd name="T2" fmla="*/ 188913 w 88"/>
                <a:gd name="T3" fmla="*/ 148648 h 88"/>
                <a:gd name="T4" fmla="*/ 137391 w 88"/>
                <a:gd name="T5" fmla="*/ 89189 h 88"/>
                <a:gd name="T6" fmla="*/ 85870 w 88"/>
                <a:gd name="T7" fmla="*/ 59459 h 88"/>
                <a:gd name="T8" fmla="*/ 51522 w 88"/>
                <a:gd name="T9" fmla="*/ 0 h 88"/>
                <a:gd name="T10" fmla="*/ 51522 w 88"/>
                <a:gd name="T11" fmla="*/ 14865 h 88"/>
                <a:gd name="T12" fmla="*/ 17174 w 88"/>
                <a:gd name="T13" fmla="*/ 29730 h 88"/>
                <a:gd name="T14" fmla="*/ 0 w 88"/>
                <a:gd name="T15" fmla="*/ 104054 h 88"/>
                <a:gd name="T16" fmla="*/ 17174 w 88"/>
                <a:gd name="T17" fmla="*/ 104054 h 88"/>
                <a:gd name="T18" fmla="*/ 34348 w 88"/>
                <a:gd name="T19" fmla="*/ 104054 h 88"/>
                <a:gd name="T20" fmla="*/ 34348 w 88"/>
                <a:gd name="T21" fmla="*/ 89189 h 88"/>
                <a:gd name="T22" fmla="*/ 51522 w 88"/>
                <a:gd name="T23" fmla="*/ 104054 h 88"/>
                <a:gd name="T24" fmla="*/ 68696 w 88"/>
                <a:gd name="T25" fmla="*/ 89189 h 88"/>
                <a:gd name="T26" fmla="*/ 103043 w 88"/>
                <a:gd name="T27" fmla="*/ 104054 h 88"/>
                <a:gd name="T28" fmla="*/ 171739 w 88"/>
                <a:gd name="T29" fmla="*/ 163513 h 8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8"/>
                <a:gd name="T46" fmla="*/ 0 h 88"/>
                <a:gd name="T47" fmla="*/ 88 w 88"/>
                <a:gd name="T48" fmla="*/ 88 h 8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8" h="88">
                  <a:moveTo>
                    <a:pt x="80" y="88"/>
                  </a:moveTo>
                  <a:lnTo>
                    <a:pt x="88" y="80"/>
                  </a:lnTo>
                  <a:lnTo>
                    <a:pt x="64" y="48"/>
                  </a:lnTo>
                  <a:lnTo>
                    <a:pt x="40" y="32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8" y="16"/>
                  </a:lnTo>
                  <a:lnTo>
                    <a:pt x="0" y="56"/>
                  </a:lnTo>
                  <a:lnTo>
                    <a:pt x="8" y="56"/>
                  </a:lnTo>
                  <a:lnTo>
                    <a:pt x="16" y="56"/>
                  </a:lnTo>
                  <a:lnTo>
                    <a:pt x="16" y="48"/>
                  </a:lnTo>
                  <a:lnTo>
                    <a:pt x="24" y="56"/>
                  </a:lnTo>
                  <a:lnTo>
                    <a:pt x="32" y="48"/>
                  </a:lnTo>
                  <a:lnTo>
                    <a:pt x="48" y="56"/>
                  </a:lnTo>
                  <a:lnTo>
                    <a:pt x="80" y="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36">
              <a:extLst>
                <a:ext uri="{FF2B5EF4-FFF2-40B4-BE49-F238E27FC236}">
                  <a16:creationId xmlns:a16="http://schemas.microsoft.com/office/drawing/2014/main" id="{9B84CC9F-F7C9-4810-9B1C-39344B55F53F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977468" y="3686343"/>
              <a:ext cx="284344" cy="210121"/>
            </a:xfrm>
            <a:custGeom>
              <a:avLst/>
              <a:gdLst>
                <a:gd name="T0" fmla="*/ 208085 w 104"/>
                <a:gd name="T1" fmla="*/ 73602 h 88"/>
                <a:gd name="T2" fmla="*/ 190744 w 104"/>
                <a:gd name="T3" fmla="*/ 73602 h 88"/>
                <a:gd name="T4" fmla="*/ 156063 w 104"/>
                <a:gd name="T5" fmla="*/ 29441 h 88"/>
                <a:gd name="T6" fmla="*/ 156063 w 104"/>
                <a:gd name="T7" fmla="*/ 0 h 88"/>
                <a:gd name="T8" fmla="*/ 121383 w 104"/>
                <a:gd name="T9" fmla="*/ 14720 h 88"/>
                <a:gd name="T10" fmla="*/ 69362 w 104"/>
                <a:gd name="T11" fmla="*/ 44161 h 88"/>
                <a:gd name="T12" fmla="*/ 34681 w 104"/>
                <a:gd name="T13" fmla="*/ 58882 h 88"/>
                <a:gd name="T14" fmla="*/ 0 w 104"/>
                <a:gd name="T15" fmla="*/ 103043 h 88"/>
                <a:gd name="T16" fmla="*/ 0 w 104"/>
                <a:gd name="T17" fmla="*/ 132484 h 88"/>
                <a:gd name="T18" fmla="*/ 17340 w 104"/>
                <a:gd name="T19" fmla="*/ 147205 h 88"/>
                <a:gd name="T20" fmla="*/ 52021 w 104"/>
                <a:gd name="T21" fmla="*/ 147205 h 88"/>
                <a:gd name="T22" fmla="*/ 69362 w 104"/>
                <a:gd name="T23" fmla="*/ 161925 h 88"/>
                <a:gd name="T24" fmla="*/ 69362 w 104"/>
                <a:gd name="T25" fmla="*/ 117764 h 88"/>
                <a:gd name="T26" fmla="*/ 138723 w 104"/>
                <a:gd name="T27" fmla="*/ 117764 h 88"/>
                <a:gd name="T28" fmla="*/ 173404 w 104"/>
                <a:gd name="T29" fmla="*/ 117764 h 88"/>
                <a:gd name="T30" fmla="*/ 190744 w 104"/>
                <a:gd name="T31" fmla="*/ 103043 h 88"/>
                <a:gd name="T32" fmla="*/ 208085 w 104"/>
                <a:gd name="T33" fmla="*/ 103043 h 88"/>
                <a:gd name="T34" fmla="*/ 225425 w 104"/>
                <a:gd name="T35" fmla="*/ 88323 h 88"/>
                <a:gd name="T36" fmla="*/ 208085 w 104"/>
                <a:gd name="T37" fmla="*/ 73602 h 8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4"/>
                <a:gd name="T58" fmla="*/ 0 h 88"/>
                <a:gd name="T59" fmla="*/ 104 w 104"/>
                <a:gd name="T60" fmla="*/ 88 h 8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4" h="88">
                  <a:moveTo>
                    <a:pt x="96" y="40"/>
                  </a:moveTo>
                  <a:lnTo>
                    <a:pt x="88" y="40"/>
                  </a:lnTo>
                  <a:lnTo>
                    <a:pt x="72" y="16"/>
                  </a:lnTo>
                  <a:lnTo>
                    <a:pt x="72" y="0"/>
                  </a:lnTo>
                  <a:lnTo>
                    <a:pt x="56" y="8"/>
                  </a:lnTo>
                  <a:lnTo>
                    <a:pt x="32" y="24"/>
                  </a:lnTo>
                  <a:lnTo>
                    <a:pt x="16" y="32"/>
                  </a:lnTo>
                  <a:lnTo>
                    <a:pt x="0" y="56"/>
                  </a:lnTo>
                  <a:lnTo>
                    <a:pt x="0" y="72"/>
                  </a:lnTo>
                  <a:lnTo>
                    <a:pt x="8" y="80"/>
                  </a:lnTo>
                  <a:lnTo>
                    <a:pt x="24" y="80"/>
                  </a:lnTo>
                  <a:lnTo>
                    <a:pt x="32" y="88"/>
                  </a:lnTo>
                  <a:lnTo>
                    <a:pt x="32" y="64"/>
                  </a:lnTo>
                  <a:lnTo>
                    <a:pt x="64" y="64"/>
                  </a:lnTo>
                  <a:lnTo>
                    <a:pt x="80" y="64"/>
                  </a:lnTo>
                  <a:lnTo>
                    <a:pt x="88" y="56"/>
                  </a:lnTo>
                  <a:lnTo>
                    <a:pt x="96" y="56"/>
                  </a:lnTo>
                  <a:lnTo>
                    <a:pt x="104" y="48"/>
                  </a:lnTo>
                  <a:lnTo>
                    <a:pt x="96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37">
              <a:extLst>
                <a:ext uri="{FF2B5EF4-FFF2-40B4-BE49-F238E27FC236}">
                  <a16:creationId xmlns:a16="http://schemas.microsoft.com/office/drawing/2014/main" id="{506D40F5-CEFD-4DDD-B600-B1EEA7C7079A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6173706" y="3379402"/>
              <a:ext cx="566686" cy="440841"/>
            </a:xfrm>
            <a:custGeom>
              <a:avLst/>
              <a:gdLst>
                <a:gd name="T0" fmla="*/ 380146 w 208"/>
                <a:gd name="T1" fmla="*/ 280642 h 184"/>
                <a:gd name="T2" fmla="*/ 380146 w 208"/>
                <a:gd name="T3" fmla="*/ 265872 h 184"/>
                <a:gd name="T4" fmla="*/ 431984 w 208"/>
                <a:gd name="T5" fmla="*/ 177248 h 184"/>
                <a:gd name="T6" fmla="*/ 449263 w 208"/>
                <a:gd name="T7" fmla="*/ 88624 h 184"/>
                <a:gd name="T8" fmla="*/ 431984 w 208"/>
                <a:gd name="T9" fmla="*/ 88624 h 184"/>
                <a:gd name="T10" fmla="*/ 414704 w 208"/>
                <a:gd name="T11" fmla="*/ 59083 h 184"/>
                <a:gd name="T12" fmla="*/ 414704 w 208"/>
                <a:gd name="T13" fmla="*/ 14771 h 184"/>
                <a:gd name="T14" fmla="*/ 397425 w 208"/>
                <a:gd name="T15" fmla="*/ 0 h 184"/>
                <a:gd name="T16" fmla="*/ 328308 w 208"/>
                <a:gd name="T17" fmla="*/ 0 h 184"/>
                <a:gd name="T18" fmla="*/ 155514 w 208"/>
                <a:gd name="T19" fmla="*/ 118165 h 184"/>
                <a:gd name="T20" fmla="*/ 120955 w 208"/>
                <a:gd name="T21" fmla="*/ 132936 h 184"/>
                <a:gd name="T22" fmla="*/ 120955 w 208"/>
                <a:gd name="T23" fmla="*/ 206789 h 184"/>
                <a:gd name="T24" fmla="*/ 103676 w 208"/>
                <a:gd name="T25" fmla="*/ 221560 h 184"/>
                <a:gd name="T26" fmla="*/ 0 w 208"/>
                <a:gd name="T27" fmla="*/ 236330 h 184"/>
                <a:gd name="T28" fmla="*/ 0 w 208"/>
                <a:gd name="T29" fmla="*/ 265872 h 184"/>
                <a:gd name="T30" fmla="*/ 34559 w 208"/>
                <a:gd name="T31" fmla="*/ 310184 h 184"/>
                <a:gd name="T32" fmla="*/ 51838 w 208"/>
                <a:gd name="T33" fmla="*/ 310184 h 184"/>
                <a:gd name="T34" fmla="*/ 69117 w 208"/>
                <a:gd name="T35" fmla="*/ 324954 h 184"/>
                <a:gd name="T36" fmla="*/ 86397 w 208"/>
                <a:gd name="T37" fmla="*/ 310184 h 184"/>
                <a:gd name="T38" fmla="*/ 103676 w 208"/>
                <a:gd name="T39" fmla="*/ 339725 h 184"/>
                <a:gd name="T40" fmla="*/ 103676 w 208"/>
                <a:gd name="T41" fmla="*/ 310184 h 184"/>
                <a:gd name="T42" fmla="*/ 120955 w 208"/>
                <a:gd name="T43" fmla="*/ 280642 h 184"/>
                <a:gd name="T44" fmla="*/ 155514 w 208"/>
                <a:gd name="T45" fmla="*/ 280642 h 184"/>
                <a:gd name="T46" fmla="*/ 190073 w 208"/>
                <a:gd name="T47" fmla="*/ 295413 h 184"/>
                <a:gd name="T48" fmla="*/ 224632 w 208"/>
                <a:gd name="T49" fmla="*/ 295413 h 184"/>
                <a:gd name="T50" fmla="*/ 259190 w 208"/>
                <a:gd name="T51" fmla="*/ 310184 h 184"/>
                <a:gd name="T52" fmla="*/ 293749 w 208"/>
                <a:gd name="T53" fmla="*/ 295413 h 184"/>
                <a:gd name="T54" fmla="*/ 345587 w 208"/>
                <a:gd name="T55" fmla="*/ 295413 h 184"/>
                <a:gd name="T56" fmla="*/ 362866 w 208"/>
                <a:gd name="T57" fmla="*/ 280642 h 184"/>
                <a:gd name="T58" fmla="*/ 380146 w 208"/>
                <a:gd name="T59" fmla="*/ 280642 h 18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8"/>
                <a:gd name="T91" fmla="*/ 0 h 184"/>
                <a:gd name="T92" fmla="*/ 208 w 208"/>
                <a:gd name="T93" fmla="*/ 184 h 18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8" h="184">
                  <a:moveTo>
                    <a:pt x="176" y="152"/>
                  </a:moveTo>
                  <a:lnTo>
                    <a:pt x="176" y="144"/>
                  </a:lnTo>
                  <a:lnTo>
                    <a:pt x="200" y="96"/>
                  </a:lnTo>
                  <a:lnTo>
                    <a:pt x="208" y="48"/>
                  </a:lnTo>
                  <a:lnTo>
                    <a:pt x="200" y="48"/>
                  </a:lnTo>
                  <a:lnTo>
                    <a:pt x="192" y="32"/>
                  </a:lnTo>
                  <a:lnTo>
                    <a:pt x="192" y="8"/>
                  </a:lnTo>
                  <a:lnTo>
                    <a:pt x="184" y="0"/>
                  </a:lnTo>
                  <a:lnTo>
                    <a:pt x="152" y="0"/>
                  </a:lnTo>
                  <a:lnTo>
                    <a:pt x="72" y="64"/>
                  </a:lnTo>
                  <a:lnTo>
                    <a:pt x="56" y="72"/>
                  </a:lnTo>
                  <a:lnTo>
                    <a:pt x="56" y="112"/>
                  </a:lnTo>
                  <a:lnTo>
                    <a:pt x="48" y="120"/>
                  </a:lnTo>
                  <a:lnTo>
                    <a:pt x="0" y="128"/>
                  </a:lnTo>
                  <a:lnTo>
                    <a:pt x="0" y="144"/>
                  </a:lnTo>
                  <a:lnTo>
                    <a:pt x="16" y="168"/>
                  </a:lnTo>
                  <a:lnTo>
                    <a:pt x="24" y="168"/>
                  </a:lnTo>
                  <a:lnTo>
                    <a:pt x="32" y="176"/>
                  </a:lnTo>
                  <a:lnTo>
                    <a:pt x="40" y="168"/>
                  </a:lnTo>
                  <a:lnTo>
                    <a:pt x="48" y="184"/>
                  </a:lnTo>
                  <a:lnTo>
                    <a:pt x="48" y="168"/>
                  </a:lnTo>
                  <a:lnTo>
                    <a:pt x="56" y="152"/>
                  </a:lnTo>
                  <a:lnTo>
                    <a:pt x="72" y="152"/>
                  </a:lnTo>
                  <a:lnTo>
                    <a:pt x="88" y="160"/>
                  </a:lnTo>
                  <a:lnTo>
                    <a:pt x="104" y="160"/>
                  </a:lnTo>
                  <a:lnTo>
                    <a:pt x="120" y="168"/>
                  </a:lnTo>
                  <a:lnTo>
                    <a:pt x="136" y="160"/>
                  </a:lnTo>
                  <a:lnTo>
                    <a:pt x="160" y="160"/>
                  </a:lnTo>
                  <a:lnTo>
                    <a:pt x="168" y="152"/>
                  </a:lnTo>
                  <a:lnTo>
                    <a:pt x="176" y="1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38">
              <a:extLst>
                <a:ext uri="{FF2B5EF4-FFF2-40B4-BE49-F238E27FC236}">
                  <a16:creationId xmlns:a16="http://schemas.microsoft.com/office/drawing/2014/main" id="{275F7DB7-20D9-4DC3-8D97-605AE0A6A8FC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737178" y="3321722"/>
              <a:ext cx="588712" cy="537662"/>
            </a:xfrm>
            <a:custGeom>
              <a:avLst/>
              <a:gdLst>
                <a:gd name="T0" fmla="*/ 345722 w 216"/>
                <a:gd name="T1" fmla="*/ 281158 h 224"/>
                <a:gd name="T2" fmla="*/ 449439 w 216"/>
                <a:gd name="T3" fmla="*/ 266360 h 224"/>
                <a:gd name="T4" fmla="*/ 466725 w 216"/>
                <a:gd name="T5" fmla="*/ 251562 h 224"/>
                <a:gd name="T6" fmla="*/ 466725 w 216"/>
                <a:gd name="T7" fmla="*/ 177573 h 224"/>
                <a:gd name="T8" fmla="*/ 432153 w 216"/>
                <a:gd name="T9" fmla="*/ 177573 h 224"/>
                <a:gd name="T10" fmla="*/ 432153 w 216"/>
                <a:gd name="T11" fmla="*/ 147978 h 224"/>
                <a:gd name="T12" fmla="*/ 397581 w 216"/>
                <a:gd name="T13" fmla="*/ 133180 h 224"/>
                <a:gd name="T14" fmla="*/ 363008 w 216"/>
                <a:gd name="T15" fmla="*/ 118382 h 224"/>
                <a:gd name="T16" fmla="*/ 207433 w 216"/>
                <a:gd name="T17" fmla="*/ 0 h 224"/>
                <a:gd name="T18" fmla="*/ 155575 w 216"/>
                <a:gd name="T19" fmla="*/ 0 h 224"/>
                <a:gd name="T20" fmla="*/ 190147 w 216"/>
                <a:gd name="T21" fmla="*/ 266360 h 224"/>
                <a:gd name="T22" fmla="*/ 51858 w 216"/>
                <a:gd name="T23" fmla="*/ 266360 h 224"/>
                <a:gd name="T24" fmla="*/ 34572 w 216"/>
                <a:gd name="T25" fmla="*/ 281158 h 224"/>
                <a:gd name="T26" fmla="*/ 17286 w 216"/>
                <a:gd name="T27" fmla="*/ 266360 h 224"/>
                <a:gd name="T28" fmla="*/ 0 w 216"/>
                <a:gd name="T29" fmla="*/ 295956 h 224"/>
                <a:gd name="T30" fmla="*/ 17286 w 216"/>
                <a:gd name="T31" fmla="*/ 355147 h 224"/>
                <a:gd name="T32" fmla="*/ 34572 w 216"/>
                <a:gd name="T33" fmla="*/ 369945 h 224"/>
                <a:gd name="T34" fmla="*/ 69144 w 216"/>
                <a:gd name="T35" fmla="*/ 355147 h 224"/>
                <a:gd name="T36" fmla="*/ 103717 w 216"/>
                <a:gd name="T37" fmla="*/ 414338 h 224"/>
                <a:gd name="T38" fmla="*/ 121003 w 216"/>
                <a:gd name="T39" fmla="*/ 414338 h 224"/>
                <a:gd name="T40" fmla="*/ 138289 w 216"/>
                <a:gd name="T41" fmla="*/ 414338 h 224"/>
                <a:gd name="T42" fmla="*/ 155575 w 216"/>
                <a:gd name="T43" fmla="*/ 414338 h 224"/>
                <a:gd name="T44" fmla="*/ 172861 w 216"/>
                <a:gd name="T45" fmla="*/ 414338 h 224"/>
                <a:gd name="T46" fmla="*/ 190147 w 216"/>
                <a:gd name="T47" fmla="*/ 414338 h 224"/>
                <a:gd name="T48" fmla="*/ 190147 w 216"/>
                <a:gd name="T49" fmla="*/ 384742 h 224"/>
                <a:gd name="T50" fmla="*/ 224719 w 216"/>
                <a:gd name="T51" fmla="*/ 340349 h 224"/>
                <a:gd name="T52" fmla="*/ 259292 w 216"/>
                <a:gd name="T53" fmla="*/ 325551 h 224"/>
                <a:gd name="T54" fmla="*/ 311150 w 216"/>
                <a:gd name="T55" fmla="*/ 295956 h 224"/>
                <a:gd name="T56" fmla="*/ 345722 w 216"/>
                <a:gd name="T57" fmla="*/ 281158 h 22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6"/>
                <a:gd name="T88" fmla="*/ 0 h 224"/>
                <a:gd name="T89" fmla="*/ 216 w 216"/>
                <a:gd name="T90" fmla="*/ 224 h 22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6" h="224">
                  <a:moveTo>
                    <a:pt x="160" y="152"/>
                  </a:moveTo>
                  <a:lnTo>
                    <a:pt x="208" y="144"/>
                  </a:lnTo>
                  <a:lnTo>
                    <a:pt x="216" y="136"/>
                  </a:lnTo>
                  <a:lnTo>
                    <a:pt x="216" y="96"/>
                  </a:lnTo>
                  <a:lnTo>
                    <a:pt x="200" y="96"/>
                  </a:lnTo>
                  <a:lnTo>
                    <a:pt x="200" y="80"/>
                  </a:lnTo>
                  <a:lnTo>
                    <a:pt x="184" y="72"/>
                  </a:lnTo>
                  <a:lnTo>
                    <a:pt x="168" y="64"/>
                  </a:lnTo>
                  <a:lnTo>
                    <a:pt x="96" y="0"/>
                  </a:lnTo>
                  <a:lnTo>
                    <a:pt x="72" y="0"/>
                  </a:lnTo>
                  <a:lnTo>
                    <a:pt x="88" y="144"/>
                  </a:lnTo>
                  <a:lnTo>
                    <a:pt x="24" y="144"/>
                  </a:lnTo>
                  <a:lnTo>
                    <a:pt x="16" y="152"/>
                  </a:lnTo>
                  <a:lnTo>
                    <a:pt x="8" y="144"/>
                  </a:lnTo>
                  <a:lnTo>
                    <a:pt x="0" y="160"/>
                  </a:lnTo>
                  <a:lnTo>
                    <a:pt x="8" y="192"/>
                  </a:lnTo>
                  <a:lnTo>
                    <a:pt x="16" y="200"/>
                  </a:lnTo>
                  <a:lnTo>
                    <a:pt x="32" y="192"/>
                  </a:lnTo>
                  <a:lnTo>
                    <a:pt x="48" y="224"/>
                  </a:lnTo>
                  <a:lnTo>
                    <a:pt x="56" y="224"/>
                  </a:lnTo>
                  <a:lnTo>
                    <a:pt x="64" y="224"/>
                  </a:lnTo>
                  <a:lnTo>
                    <a:pt x="72" y="224"/>
                  </a:lnTo>
                  <a:lnTo>
                    <a:pt x="80" y="224"/>
                  </a:lnTo>
                  <a:lnTo>
                    <a:pt x="88" y="224"/>
                  </a:lnTo>
                  <a:lnTo>
                    <a:pt x="88" y="208"/>
                  </a:lnTo>
                  <a:lnTo>
                    <a:pt x="104" y="184"/>
                  </a:lnTo>
                  <a:lnTo>
                    <a:pt x="120" y="176"/>
                  </a:lnTo>
                  <a:lnTo>
                    <a:pt x="144" y="160"/>
                  </a:lnTo>
                  <a:lnTo>
                    <a:pt x="160" y="1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39">
              <a:extLst>
                <a:ext uri="{FF2B5EF4-FFF2-40B4-BE49-F238E27FC236}">
                  <a16:creationId xmlns:a16="http://schemas.microsoft.com/office/drawing/2014/main" id="{D404AF54-3A39-484F-AC03-F375431FCC3B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6502102" y="3035380"/>
              <a:ext cx="566686" cy="498522"/>
            </a:xfrm>
            <a:custGeom>
              <a:avLst/>
              <a:gdLst>
                <a:gd name="T0" fmla="*/ 449263 w 208"/>
                <a:gd name="T1" fmla="*/ 310295 h 208"/>
                <a:gd name="T2" fmla="*/ 431984 w 208"/>
                <a:gd name="T3" fmla="*/ 132984 h 208"/>
                <a:gd name="T4" fmla="*/ 431984 w 208"/>
                <a:gd name="T5" fmla="*/ 88656 h 208"/>
                <a:gd name="T6" fmla="*/ 431984 w 208"/>
                <a:gd name="T7" fmla="*/ 44328 h 208"/>
                <a:gd name="T8" fmla="*/ 380146 w 208"/>
                <a:gd name="T9" fmla="*/ 29552 h 208"/>
                <a:gd name="T10" fmla="*/ 380146 w 208"/>
                <a:gd name="T11" fmla="*/ 14776 h 208"/>
                <a:gd name="T12" fmla="*/ 345587 w 208"/>
                <a:gd name="T13" fmla="*/ 14776 h 208"/>
                <a:gd name="T14" fmla="*/ 293749 w 208"/>
                <a:gd name="T15" fmla="*/ 29552 h 208"/>
                <a:gd name="T16" fmla="*/ 293749 w 208"/>
                <a:gd name="T17" fmla="*/ 73880 h 208"/>
                <a:gd name="T18" fmla="*/ 276470 w 208"/>
                <a:gd name="T19" fmla="*/ 88656 h 208"/>
                <a:gd name="T20" fmla="*/ 259190 w 208"/>
                <a:gd name="T21" fmla="*/ 73880 h 208"/>
                <a:gd name="T22" fmla="*/ 224632 w 208"/>
                <a:gd name="T23" fmla="*/ 59104 h 208"/>
                <a:gd name="T24" fmla="*/ 172793 w 208"/>
                <a:gd name="T25" fmla="*/ 44328 h 208"/>
                <a:gd name="T26" fmla="*/ 172793 w 208"/>
                <a:gd name="T27" fmla="*/ 29552 h 208"/>
                <a:gd name="T28" fmla="*/ 138235 w 208"/>
                <a:gd name="T29" fmla="*/ 14776 h 208"/>
                <a:gd name="T30" fmla="*/ 86397 w 208"/>
                <a:gd name="T31" fmla="*/ 14776 h 208"/>
                <a:gd name="T32" fmla="*/ 51838 w 208"/>
                <a:gd name="T33" fmla="*/ 0 h 208"/>
                <a:gd name="T34" fmla="*/ 51838 w 208"/>
                <a:gd name="T35" fmla="*/ 29552 h 208"/>
                <a:gd name="T36" fmla="*/ 17279 w 208"/>
                <a:gd name="T37" fmla="*/ 44328 h 208"/>
                <a:gd name="T38" fmla="*/ 17279 w 208"/>
                <a:gd name="T39" fmla="*/ 73880 h 208"/>
                <a:gd name="T40" fmla="*/ 0 w 208"/>
                <a:gd name="T41" fmla="*/ 73880 h 208"/>
                <a:gd name="T42" fmla="*/ 0 w 208"/>
                <a:gd name="T43" fmla="*/ 88656 h 208"/>
                <a:gd name="T44" fmla="*/ 17279 w 208"/>
                <a:gd name="T45" fmla="*/ 103432 h 208"/>
                <a:gd name="T46" fmla="*/ 17279 w 208"/>
                <a:gd name="T47" fmla="*/ 147760 h 208"/>
                <a:gd name="T48" fmla="*/ 17279 w 208"/>
                <a:gd name="T49" fmla="*/ 177312 h 208"/>
                <a:gd name="T50" fmla="*/ 0 w 208"/>
                <a:gd name="T51" fmla="*/ 192088 h 208"/>
                <a:gd name="T52" fmla="*/ 34559 w 208"/>
                <a:gd name="T53" fmla="*/ 236415 h 208"/>
                <a:gd name="T54" fmla="*/ 51838 w 208"/>
                <a:gd name="T55" fmla="*/ 236415 h 208"/>
                <a:gd name="T56" fmla="*/ 69117 w 208"/>
                <a:gd name="T57" fmla="*/ 265967 h 208"/>
                <a:gd name="T58" fmla="*/ 138235 w 208"/>
                <a:gd name="T59" fmla="*/ 265967 h 208"/>
                <a:gd name="T60" fmla="*/ 155514 w 208"/>
                <a:gd name="T61" fmla="*/ 280743 h 208"/>
                <a:gd name="T62" fmla="*/ 207352 w 208"/>
                <a:gd name="T63" fmla="*/ 280743 h 208"/>
                <a:gd name="T64" fmla="*/ 414704 w 208"/>
                <a:gd name="T65" fmla="*/ 384175 h 208"/>
                <a:gd name="T66" fmla="*/ 414704 w 208"/>
                <a:gd name="T67" fmla="*/ 369399 h 208"/>
                <a:gd name="T68" fmla="*/ 449263 w 208"/>
                <a:gd name="T69" fmla="*/ 369399 h 208"/>
                <a:gd name="T70" fmla="*/ 449263 w 208"/>
                <a:gd name="T71" fmla="*/ 310295 h 2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8"/>
                <a:gd name="T109" fmla="*/ 0 h 208"/>
                <a:gd name="T110" fmla="*/ 208 w 208"/>
                <a:gd name="T111" fmla="*/ 208 h 2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8" h="208">
                  <a:moveTo>
                    <a:pt x="208" y="168"/>
                  </a:moveTo>
                  <a:lnTo>
                    <a:pt x="200" y="72"/>
                  </a:lnTo>
                  <a:lnTo>
                    <a:pt x="200" y="48"/>
                  </a:lnTo>
                  <a:lnTo>
                    <a:pt x="200" y="24"/>
                  </a:lnTo>
                  <a:lnTo>
                    <a:pt x="176" y="16"/>
                  </a:lnTo>
                  <a:lnTo>
                    <a:pt x="176" y="8"/>
                  </a:lnTo>
                  <a:lnTo>
                    <a:pt x="160" y="8"/>
                  </a:lnTo>
                  <a:lnTo>
                    <a:pt x="136" y="16"/>
                  </a:lnTo>
                  <a:lnTo>
                    <a:pt x="136" y="40"/>
                  </a:lnTo>
                  <a:lnTo>
                    <a:pt x="128" y="48"/>
                  </a:lnTo>
                  <a:lnTo>
                    <a:pt x="120" y="40"/>
                  </a:lnTo>
                  <a:lnTo>
                    <a:pt x="104" y="32"/>
                  </a:lnTo>
                  <a:lnTo>
                    <a:pt x="80" y="24"/>
                  </a:lnTo>
                  <a:lnTo>
                    <a:pt x="80" y="16"/>
                  </a:lnTo>
                  <a:lnTo>
                    <a:pt x="64" y="8"/>
                  </a:lnTo>
                  <a:lnTo>
                    <a:pt x="40" y="8"/>
                  </a:lnTo>
                  <a:lnTo>
                    <a:pt x="24" y="0"/>
                  </a:lnTo>
                  <a:lnTo>
                    <a:pt x="24" y="16"/>
                  </a:lnTo>
                  <a:lnTo>
                    <a:pt x="8" y="24"/>
                  </a:lnTo>
                  <a:lnTo>
                    <a:pt x="8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8" y="56"/>
                  </a:lnTo>
                  <a:lnTo>
                    <a:pt x="8" y="80"/>
                  </a:lnTo>
                  <a:lnTo>
                    <a:pt x="8" y="96"/>
                  </a:lnTo>
                  <a:lnTo>
                    <a:pt x="0" y="104"/>
                  </a:lnTo>
                  <a:lnTo>
                    <a:pt x="16" y="128"/>
                  </a:lnTo>
                  <a:lnTo>
                    <a:pt x="24" y="128"/>
                  </a:lnTo>
                  <a:lnTo>
                    <a:pt x="32" y="144"/>
                  </a:lnTo>
                  <a:lnTo>
                    <a:pt x="64" y="144"/>
                  </a:lnTo>
                  <a:lnTo>
                    <a:pt x="72" y="152"/>
                  </a:lnTo>
                  <a:lnTo>
                    <a:pt x="96" y="152"/>
                  </a:lnTo>
                  <a:lnTo>
                    <a:pt x="192" y="208"/>
                  </a:lnTo>
                  <a:lnTo>
                    <a:pt x="192" y="200"/>
                  </a:lnTo>
                  <a:lnTo>
                    <a:pt x="208" y="200"/>
                  </a:lnTo>
                  <a:lnTo>
                    <a:pt x="208" y="16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40">
              <a:extLst>
                <a:ext uri="{FF2B5EF4-FFF2-40B4-BE49-F238E27FC236}">
                  <a16:creationId xmlns:a16="http://schemas.microsoft.com/office/drawing/2014/main" id="{C3864FEE-1C13-4C33-866A-A1EF680D6982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869338" y="2901481"/>
              <a:ext cx="718870" cy="650962"/>
            </a:xfrm>
            <a:custGeom>
              <a:avLst/>
              <a:gdLst>
                <a:gd name="T0" fmla="*/ 466292 w 264"/>
                <a:gd name="T1" fmla="*/ 0 h 272"/>
                <a:gd name="T2" fmla="*/ 414482 w 264"/>
                <a:gd name="T3" fmla="*/ 0 h 272"/>
                <a:gd name="T4" fmla="*/ 397212 w 264"/>
                <a:gd name="T5" fmla="*/ 0 h 272"/>
                <a:gd name="T6" fmla="*/ 362672 w 264"/>
                <a:gd name="T7" fmla="*/ 0 h 272"/>
                <a:gd name="T8" fmla="*/ 276321 w 264"/>
                <a:gd name="T9" fmla="*/ 14754 h 272"/>
                <a:gd name="T10" fmla="*/ 189971 w 264"/>
                <a:gd name="T11" fmla="*/ 44263 h 272"/>
                <a:gd name="T12" fmla="*/ 207241 w 264"/>
                <a:gd name="T13" fmla="*/ 59018 h 272"/>
                <a:gd name="T14" fmla="*/ 207241 w 264"/>
                <a:gd name="T15" fmla="*/ 132790 h 272"/>
                <a:gd name="T16" fmla="*/ 138161 w 264"/>
                <a:gd name="T17" fmla="*/ 147544 h 272"/>
                <a:gd name="T18" fmla="*/ 138161 w 264"/>
                <a:gd name="T19" fmla="*/ 162299 h 272"/>
                <a:gd name="T20" fmla="*/ 103621 w 264"/>
                <a:gd name="T21" fmla="*/ 191807 h 272"/>
                <a:gd name="T22" fmla="*/ 17270 w 264"/>
                <a:gd name="T23" fmla="*/ 206562 h 272"/>
                <a:gd name="T24" fmla="*/ 0 w 264"/>
                <a:gd name="T25" fmla="*/ 221316 h 272"/>
                <a:gd name="T26" fmla="*/ 0 w 264"/>
                <a:gd name="T27" fmla="*/ 250825 h 272"/>
                <a:gd name="T28" fmla="*/ 0 w 264"/>
                <a:gd name="T29" fmla="*/ 265579 h 272"/>
                <a:gd name="T30" fmla="*/ 103621 w 264"/>
                <a:gd name="T31" fmla="*/ 324597 h 272"/>
                <a:gd name="T32" fmla="*/ 259051 w 264"/>
                <a:gd name="T33" fmla="*/ 442632 h 272"/>
                <a:gd name="T34" fmla="*/ 293592 w 264"/>
                <a:gd name="T35" fmla="*/ 457387 h 272"/>
                <a:gd name="T36" fmla="*/ 328132 w 264"/>
                <a:gd name="T37" fmla="*/ 472141 h 272"/>
                <a:gd name="T38" fmla="*/ 328132 w 264"/>
                <a:gd name="T39" fmla="*/ 501650 h 272"/>
                <a:gd name="T40" fmla="*/ 362672 w 264"/>
                <a:gd name="T41" fmla="*/ 501650 h 272"/>
                <a:gd name="T42" fmla="*/ 397212 w 264"/>
                <a:gd name="T43" fmla="*/ 486896 h 272"/>
                <a:gd name="T44" fmla="*/ 569913 w 264"/>
                <a:gd name="T45" fmla="*/ 368860 h 272"/>
                <a:gd name="T46" fmla="*/ 552643 w 264"/>
                <a:gd name="T47" fmla="*/ 339351 h 272"/>
                <a:gd name="T48" fmla="*/ 535373 w 264"/>
                <a:gd name="T49" fmla="*/ 339351 h 272"/>
                <a:gd name="T50" fmla="*/ 500833 w 264"/>
                <a:gd name="T51" fmla="*/ 295088 h 272"/>
                <a:gd name="T52" fmla="*/ 518103 w 264"/>
                <a:gd name="T53" fmla="*/ 280334 h 272"/>
                <a:gd name="T54" fmla="*/ 518103 w 264"/>
                <a:gd name="T55" fmla="*/ 250825 h 272"/>
                <a:gd name="T56" fmla="*/ 518103 w 264"/>
                <a:gd name="T57" fmla="*/ 206562 h 272"/>
                <a:gd name="T58" fmla="*/ 500833 w 264"/>
                <a:gd name="T59" fmla="*/ 191807 h 272"/>
                <a:gd name="T60" fmla="*/ 500833 w 264"/>
                <a:gd name="T61" fmla="*/ 177053 h 272"/>
                <a:gd name="T62" fmla="*/ 500833 w 264"/>
                <a:gd name="T63" fmla="*/ 132790 h 272"/>
                <a:gd name="T64" fmla="*/ 466292 w 264"/>
                <a:gd name="T65" fmla="*/ 118035 h 272"/>
                <a:gd name="T66" fmla="*/ 449022 w 264"/>
                <a:gd name="T67" fmla="*/ 88526 h 272"/>
                <a:gd name="T68" fmla="*/ 483562 w 264"/>
                <a:gd name="T69" fmla="*/ 59018 h 272"/>
                <a:gd name="T70" fmla="*/ 483562 w 264"/>
                <a:gd name="T71" fmla="*/ 14754 h 272"/>
                <a:gd name="T72" fmla="*/ 483562 w 264"/>
                <a:gd name="T73" fmla="*/ 0 h 272"/>
                <a:gd name="T74" fmla="*/ 466292 w 264"/>
                <a:gd name="T75" fmla="*/ 0 h 27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4"/>
                <a:gd name="T115" fmla="*/ 0 h 272"/>
                <a:gd name="T116" fmla="*/ 264 w 264"/>
                <a:gd name="T117" fmla="*/ 272 h 27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4" h="272">
                  <a:moveTo>
                    <a:pt x="216" y="0"/>
                  </a:moveTo>
                  <a:lnTo>
                    <a:pt x="192" y="0"/>
                  </a:lnTo>
                  <a:lnTo>
                    <a:pt x="184" y="0"/>
                  </a:lnTo>
                  <a:lnTo>
                    <a:pt x="168" y="0"/>
                  </a:lnTo>
                  <a:lnTo>
                    <a:pt x="128" y="8"/>
                  </a:lnTo>
                  <a:lnTo>
                    <a:pt x="88" y="24"/>
                  </a:lnTo>
                  <a:lnTo>
                    <a:pt x="96" y="32"/>
                  </a:lnTo>
                  <a:lnTo>
                    <a:pt x="96" y="72"/>
                  </a:lnTo>
                  <a:lnTo>
                    <a:pt x="64" y="80"/>
                  </a:lnTo>
                  <a:lnTo>
                    <a:pt x="64" y="88"/>
                  </a:lnTo>
                  <a:lnTo>
                    <a:pt x="48" y="104"/>
                  </a:lnTo>
                  <a:lnTo>
                    <a:pt x="8" y="112"/>
                  </a:lnTo>
                  <a:lnTo>
                    <a:pt x="0" y="120"/>
                  </a:lnTo>
                  <a:lnTo>
                    <a:pt x="0" y="136"/>
                  </a:lnTo>
                  <a:lnTo>
                    <a:pt x="0" y="144"/>
                  </a:lnTo>
                  <a:lnTo>
                    <a:pt x="48" y="176"/>
                  </a:lnTo>
                  <a:lnTo>
                    <a:pt x="120" y="240"/>
                  </a:lnTo>
                  <a:lnTo>
                    <a:pt x="136" y="248"/>
                  </a:lnTo>
                  <a:lnTo>
                    <a:pt x="152" y="256"/>
                  </a:lnTo>
                  <a:lnTo>
                    <a:pt x="152" y="272"/>
                  </a:lnTo>
                  <a:lnTo>
                    <a:pt x="168" y="272"/>
                  </a:lnTo>
                  <a:lnTo>
                    <a:pt x="184" y="264"/>
                  </a:lnTo>
                  <a:lnTo>
                    <a:pt x="264" y="200"/>
                  </a:lnTo>
                  <a:lnTo>
                    <a:pt x="256" y="184"/>
                  </a:lnTo>
                  <a:lnTo>
                    <a:pt x="248" y="184"/>
                  </a:lnTo>
                  <a:lnTo>
                    <a:pt x="232" y="160"/>
                  </a:lnTo>
                  <a:lnTo>
                    <a:pt x="240" y="152"/>
                  </a:lnTo>
                  <a:lnTo>
                    <a:pt x="240" y="136"/>
                  </a:lnTo>
                  <a:lnTo>
                    <a:pt x="240" y="112"/>
                  </a:lnTo>
                  <a:lnTo>
                    <a:pt x="232" y="104"/>
                  </a:lnTo>
                  <a:lnTo>
                    <a:pt x="232" y="96"/>
                  </a:lnTo>
                  <a:lnTo>
                    <a:pt x="232" y="72"/>
                  </a:lnTo>
                  <a:lnTo>
                    <a:pt x="216" y="64"/>
                  </a:lnTo>
                  <a:lnTo>
                    <a:pt x="208" y="48"/>
                  </a:lnTo>
                  <a:lnTo>
                    <a:pt x="224" y="32"/>
                  </a:lnTo>
                  <a:lnTo>
                    <a:pt x="224" y="8"/>
                  </a:lnTo>
                  <a:lnTo>
                    <a:pt x="224" y="0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41">
              <a:extLst>
                <a:ext uri="{FF2B5EF4-FFF2-40B4-BE49-F238E27FC236}">
                  <a16:creationId xmlns:a16="http://schemas.microsoft.com/office/drawing/2014/main" id="{6091A7AF-EF0B-4ABC-ACAB-36A6647A2109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6654286" y="3400002"/>
              <a:ext cx="370448" cy="572682"/>
            </a:xfrm>
            <a:custGeom>
              <a:avLst/>
              <a:gdLst>
                <a:gd name="T0" fmla="*/ 34552 w 136"/>
                <a:gd name="T1" fmla="*/ 44133 h 240"/>
                <a:gd name="T2" fmla="*/ 51827 w 136"/>
                <a:gd name="T3" fmla="*/ 73554 h 240"/>
                <a:gd name="T4" fmla="*/ 69103 w 136"/>
                <a:gd name="T5" fmla="*/ 73554 h 240"/>
                <a:gd name="T6" fmla="*/ 51827 w 136"/>
                <a:gd name="T7" fmla="*/ 161819 h 240"/>
                <a:gd name="T8" fmla="*/ 0 w 136"/>
                <a:gd name="T9" fmla="*/ 250084 h 240"/>
                <a:gd name="T10" fmla="*/ 0 w 136"/>
                <a:gd name="T11" fmla="*/ 264795 h 240"/>
                <a:gd name="T12" fmla="*/ 17276 w 136"/>
                <a:gd name="T13" fmla="*/ 279506 h 240"/>
                <a:gd name="T14" fmla="*/ 34552 w 136"/>
                <a:gd name="T15" fmla="*/ 294217 h 240"/>
                <a:gd name="T16" fmla="*/ 34552 w 136"/>
                <a:gd name="T17" fmla="*/ 338349 h 240"/>
                <a:gd name="T18" fmla="*/ 51827 w 136"/>
                <a:gd name="T19" fmla="*/ 367771 h 240"/>
                <a:gd name="T20" fmla="*/ 17276 w 136"/>
                <a:gd name="T21" fmla="*/ 367771 h 240"/>
                <a:gd name="T22" fmla="*/ 17276 w 136"/>
                <a:gd name="T23" fmla="*/ 382482 h 240"/>
                <a:gd name="T24" fmla="*/ 34552 w 136"/>
                <a:gd name="T25" fmla="*/ 397193 h 240"/>
                <a:gd name="T26" fmla="*/ 51827 w 136"/>
                <a:gd name="T27" fmla="*/ 441325 h 240"/>
                <a:gd name="T28" fmla="*/ 138206 w 136"/>
                <a:gd name="T29" fmla="*/ 426614 h 240"/>
                <a:gd name="T30" fmla="*/ 155482 w 136"/>
                <a:gd name="T31" fmla="*/ 411903 h 240"/>
                <a:gd name="T32" fmla="*/ 155482 w 136"/>
                <a:gd name="T33" fmla="*/ 397193 h 240"/>
                <a:gd name="T34" fmla="*/ 207309 w 136"/>
                <a:gd name="T35" fmla="*/ 382482 h 240"/>
                <a:gd name="T36" fmla="*/ 241861 w 136"/>
                <a:gd name="T37" fmla="*/ 353060 h 240"/>
                <a:gd name="T38" fmla="*/ 259136 w 136"/>
                <a:gd name="T39" fmla="*/ 338349 h 240"/>
                <a:gd name="T40" fmla="*/ 276412 w 136"/>
                <a:gd name="T41" fmla="*/ 323638 h 240"/>
                <a:gd name="T42" fmla="*/ 241861 w 136"/>
                <a:gd name="T43" fmla="*/ 279506 h 240"/>
                <a:gd name="T44" fmla="*/ 276412 w 136"/>
                <a:gd name="T45" fmla="*/ 205952 h 240"/>
                <a:gd name="T46" fmla="*/ 293688 w 136"/>
                <a:gd name="T47" fmla="*/ 205952 h 240"/>
                <a:gd name="T48" fmla="*/ 293688 w 136"/>
                <a:gd name="T49" fmla="*/ 191241 h 240"/>
                <a:gd name="T50" fmla="*/ 293688 w 136"/>
                <a:gd name="T51" fmla="*/ 102976 h 240"/>
                <a:gd name="T52" fmla="*/ 86379 w 136"/>
                <a:gd name="T53" fmla="*/ 0 h 240"/>
                <a:gd name="T54" fmla="*/ 34552 w 136"/>
                <a:gd name="T55" fmla="*/ 0 h 240"/>
                <a:gd name="T56" fmla="*/ 34552 w 136"/>
                <a:gd name="T57" fmla="*/ 44133 h 24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"/>
                <a:gd name="T88" fmla="*/ 0 h 240"/>
                <a:gd name="T89" fmla="*/ 136 w 136"/>
                <a:gd name="T90" fmla="*/ 240 h 24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" h="240">
                  <a:moveTo>
                    <a:pt x="16" y="24"/>
                  </a:moveTo>
                  <a:lnTo>
                    <a:pt x="24" y="40"/>
                  </a:lnTo>
                  <a:lnTo>
                    <a:pt x="32" y="40"/>
                  </a:lnTo>
                  <a:lnTo>
                    <a:pt x="24" y="88"/>
                  </a:lnTo>
                  <a:lnTo>
                    <a:pt x="0" y="136"/>
                  </a:lnTo>
                  <a:lnTo>
                    <a:pt x="0" y="144"/>
                  </a:lnTo>
                  <a:lnTo>
                    <a:pt x="8" y="152"/>
                  </a:lnTo>
                  <a:lnTo>
                    <a:pt x="16" y="160"/>
                  </a:lnTo>
                  <a:lnTo>
                    <a:pt x="16" y="184"/>
                  </a:lnTo>
                  <a:lnTo>
                    <a:pt x="24" y="200"/>
                  </a:lnTo>
                  <a:lnTo>
                    <a:pt x="8" y="200"/>
                  </a:lnTo>
                  <a:lnTo>
                    <a:pt x="8" y="208"/>
                  </a:lnTo>
                  <a:lnTo>
                    <a:pt x="16" y="216"/>
                  </a:lnTo>
                  <a:lnTo>
                    <a:pt x="24" y="240"/>
                  </a:lnTo>
                  <a:lnTo>
                    <a:pt x="64" y="232"/>
                  </a:lnTo>
                  <a:lnTo>
                    <a:pt x="72" y="224"/>
                  </a:lnTo>
                  <a:lnTo>
                    <a:pt x="72" y="216"/>
                  </a:lnTo>
                  <a:lnTo>
                    <a:pt x="96" y="208"/>
                  </a:lnTo>
                  <a:lnTo>
                    <a:pt x="112" y="192"/>
                  </a:lnTo>
                  <a:lnTo>
                    <a:pt x="120" y="184"/>
                  </a:lnTo>
                  <a:lnTo>
                    <a:pt x="128" y="176"/>
                  </a:lnTo>
                  <a:lnTo>
                    <a:pt x="112" y="152"/>
                  </a:lnTo>
                  <a:lnTo>
                    <a:pt x="128" y="112"/>
                  </a:lnTo>
                  <a:lnTo>
                    <a:pt x="136" y="112"/>
                  </a:lnTo>
                  <a:lnTo>
                    <a:pt x="136" y="104"/>
                  </a:lnTo>
                  <a:lnTo>
                    <a:pt x="136" y="56"/>
                  </a:lnTo>
                  <a:lnTo>
                    <a:pt x="40" y="0"/>
                  </a:lnTo>
                  <a:lnTo>
                    <a:pt x="16" y="0"/>
                  </a:lnTo>
                  <a:lnTo>
                    <a:pt x="16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42">
              <a:extLst>
                <a:ext uri="{FF2B5EF4-FFF2-40B4-BE49-F238E27FC236}">
                  <a16:creationId xmlns:a16="http://schemas.microsoft.com/office/drawing/2014/main" id="{189318B9-DE19-4C65-82B3-34EDB92136A5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7701553" y="3589523"/>
              <a:ext cx="370448" cy="191581"/>
            </a:xfrm>
            <a:custGeom>
              <a:avLst/>
              <a:gdLst>
                <a:gd name="T0" fmla="*/ 0 w 136"/>
                <a:gd name="T1" fmla="*/ 44291 h 80"/>
                <a:gd name="T2" fmla="*/ 34552 w 136"/>
                <a:gd name="T3" fmla="*/ 29528 h 80"/>
                <a:gd name="T4" fmla="*/ 86379 w 136"/>
                <a:gd name="T5" fmla="*/ 88583 h 80"/>
                <a:gd name="T6" fmla="*/ 190033 w 136"/>
                <a:gd name="T7" fmla="*/ 14764 h 80"/>
                <a:gd name="T8" fmla="*/ 276412 w 136"/>
                <a:gd name="T9" fmla="*/ 0 h 80"/>
                <a:gd name="T10" fmla="*/ 293688 w 136"/>
                <a:gd name="T11" fmla="*/ 29528 h 80"/>
                <a:gd name="T12" fmla="*/ 293688 w 136"/>
                <a:gd name="T13" fmla="*/ 44291 h 80"/>
                <a:gd name="T14" fmla="*/ 276412 w 136"/>
                <a:gd name="T15" fmla="*/ 44291 h 80"/>
                <a:gd name="T16" fmla="*/ 276412 w 136"/>
                <a:gd name="T17" fmla="*/ 59055 h 80"/>
                <a:gd name="T18" fmla="*/ 207309 w 136"/>
                <a:gd name="T19" fmla="*/ 88583 h 80"/>
                <a:gd name="T20" fmla="*/ 138206 w 136"/>
                <a:gd name="T21" fmla="*/ 132874 h 80"/>
                <a:gd name="T22" fmla="*/ 86379 w 136"/>
                <a:gd name="T23" fmla="*/ 132874 h 80"/>
                <a:gd name="T24" fmla="*/ 69103 w 136"/>
                <a:gd name="T25" fmla="*/ 147638 h 80"/>
                <a:gd name="T26" fmla="*/ 34552 w 136"/>
                <a:gd name="T27" fmla="*/ 147638 h 80"/>
                <a:gd name="T28" fmla="*/ 0 w 136"/>
                <a:gd name="T29" fmla="*/ 44291 h 8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6"/>
                <a:gd name="T46" fmla="*/ 0 h 80"/>
                <a:gd name="T47" fmla="*/ 136 w 136"/>
                <a:gd name="T48" fmla="*/ 80 h 8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6" h="80">
                  <a:moveTo>
                    <a:pt x="0" y="24"/>
                  </a:moveTo>
                  <a:lnTo>
                    <a:pt x="16" y="16"/>
                  </a:lnTo>
                  <a:lnTo>
                    <a:pt x="40" y="48"/>
                  </a:lnTo>
                  <a:lnTo>
                    <a:pt x="88" y="8"/>
                  </a:lnTo>
                  <a:lnTo>
                    <a:pt x="128" y="0"/>
                  </a:lnTo>
                  <a:lnTo>
                    <a:pt x="136" y="16"/>
                  </a:lnTo>
                  <a:lnTo>
                    <a:pt x="136" y="24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96" y="48"/>
                  </a:lnTo>
                  <a:lnTo>
                    <a:pt x="64" y="72"/>
                  </a:lnTo>
                  <a:lnTo>
                    <a:pt x="40" y="72"/>
                  </a:lnTo>
                  <a:lnTo>
                    <a:pt x="32" y="80"/>
                  </a:lnTo>
                  <a:lnTo>
                    <a:pt x="16" y="8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43">
              <a:extLst>
                <a:ext uri="{FF2B5EF4-FFF2-40B4-BE49-F238E27FC236}">
                  <a16:creationId xmlns:a16="http://schemas.microsoft.com/office/drawing/2014/main" id="{61429FCF-DF3C-4850-837A-FDD638F3E53A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8049974" y="3342322"/>
              <a:ext cx="262318" cy="286342"/>
            </a:xfrm>
            <a:custGeom>
              <a:avLst/>
              <a:gdLst>
                <a:gd name="T0" fmla="*/ 51991 w 96"/>
                <a:gd name="T1" fmla="*/ 220663 h 120"/>
                <a:gd name="T2" fmla="*/ 69321 w 96"/>
                <a:gd name="T3" fmla="*/ 220663 h 120"/>
                <a:gd name="T4" fmla="*/ 86651 w 96"/>
                <a:gd name="T5" fmla="*/ 191241 h 120"/>
                <a:gd name="T6" fmla="*/ 121312 w 96"/>
                <a:gd name="T7" fmla="*/ 191241 h 120"/>
                <a:gd name="T8" fmla="*/ 138642 w 96"/>
                <a:gd name="T9" fmla="*/ 161820 h 120"/>
                <a:gd name="T10" fmla="*/ 155972 w 96"/>
                <a:gd name="T11" fmla="*/ 161820 h 120"/>
                <a:gd name="T12" fmla="*/ 155972 w 96"/>
                <a:gd name="T13" fmla="*/ 132398 h 120"/>
                <a:gd name="T14" fmla="*/ 190633 w 96"/>
                <a:gd name="T15" fmla="*/ 88265 h 120"/>
                <a:gd name="T16" fmla="*/ 207963 w 96"/>
                <a:gd name="T17" fmla="*/ 58843 h 120"/>
                <a:gd name="T18" fmla="*/ 173303 w 96"/>
                <a:gd name="T19" fmla="*/ 29422 h 120"/>
                <a:gd name="T20" fmla="*/ 121312 w 96"/>
                <a:gd name="T21" fmla="*/ 14711 h 120"/>
                <a:gd name="T22" fmla="*/ 103982 w 96"/>
                <a:gd name="T23" fmla="*/ 0 h 120"/>
                <a:gd name="T24" fmla="*/ 86651 w 96"/>
                <a:gd name="T25" fmla="*/ 14711 h 120"/>
                <a:gd name="T26" fmla="*/ 86651 w 96"/>
                <a:gd name="T27" fmla="*/ 29422 h 120"/>
                <a:gd name="T28" fmla="*/ 69321 w 96"/>
                <a:gd name="T29" fmla="*/ 29422 h 120"/>
                <a:gd name="T30" fmla="*/ 86651 w 96"/>
                <a:gd name="T31" fmla="*/ 44133 h 120"/>
                <a:gd name="T32" fmla="*/ 103982 w 96"/>
                <a:gd name="T33" fmla="*/ 58843 h 120"/>
                <a:gd name="T34" fmla="*/ 103982 w 96"/>
                <a:gd name="T35" fmla="*/ 88265 h 120"/>
                <a:gd name="T36" fmla="*/ 69321 w 96"/>
                <a:gd name="T37" fmla="*/ 147109 h 120"/>
                <a:gd name="T38" fmla="*/ 0 w 96"/>
                <a:gd name="T39" fmla="*/ 191241 h 120"/>
                <a:gd name="T40" fmla="*/ 17330 w 96"/>
                <a:gd name="T41" fmla="*/ 220663 h 120"/>
                <a:gd name="T42" fmla="*/ 51991 w 96"/>
                <a:gd name="T43" fmla="*/ 220663 h 12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6"/>
                <a:gd name="T67" fmla="*/ 0 h 120"/>
                <a:gd name="T68" fmla="*/ 96 w 96"/>
                <a:gd name="T69" fmla="*/ 120 h 12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6" h="120">
                  <a:moveTo>
                    <a:pt x="24" y="120"/>
                  </a:moveTo>
                  <a:lnTo>
                    <a:pt x="32" y="120"/>
                  </a:lnTo>
                  <a:lnTo>
                    <a:pt x="40" y="104"/>
                  </a:lnTo>
                  <a:lnTo>
                    <a:pt x="56" y="104"/>
                  </a:lnTo>
                  <a:lnTo>
                    <a:pt x="64" y="88"/>
                  </a:lnTo>
                  <a:lnTo>
                    <a:pt x="72" y="88"/>
                  </a:lnTo>
                  <a:lnTo>
                    <a:pt x="72" y="72"/>
                  </a:lnTo>
                  <a:lnTo>
                    <a:pt x="88" y="48"/>
                  </a:lnTo>
                  <a:lnTo>
                    <a:pt x="96" y="32"/>
                  </a:lnTo>
                  <a:lnTo>
                    <a:pt x="80" y="16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40" y="16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48" y="32"/>
                  </a:lnTo>
                  <a:lnTo>
                    <a:pt x="48" y="48"/>
                  </a:lnTo>
                  <a:lnTo>
                    <a:pt x="32" y="80"/>
                  </a:lnTo>
                  <a:lnTo>
                    <a:pt x="0" y="104"/>
                  </a:lnTo>
                  <a:lnTo>
                    <a:pt x="8" y="120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44">
              <a:extLst>
                <a:ext uri="{FF2B5EF4-FFF2-40B4-BE49-F238E27FC236}">
                  <a16:creationId xmlns:a16="http://schemas.microsoft.com/office/drawing/2014/main" id="{78FC7E21-82D8-4A96-809B-759B93EBB2D5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395182" y="3074521"/>
              <a:ext cx="784949" cy="630362"/>
            </a:xfrm>
            <a:custGeom>
              <a:avLst/>
              <a:gdLst>
                <a:gd name="T0" fmla="*/ 276578 w 288"/>
                <a:gd name="T1" fmla="*/ 88323 h 264"/>
                <a:gd name="T2" fmla="*/ 293864 w 288"/>
                <a:gd name="T3" fmla="*/ 88323 h 264"/>
                <a:gd name="T4" fmla="*/ 328436 w 288"/>
                <a:gd name="T5" fmla="*/ 88323 h 264"/>
                <a:gd name="T6" fmla="*/ 380294 w 288"/>
                <a:gd name="T7" fmla="*/ 103043 h 264"/>
                <a:gd name="T8" fmla="*/ 432153 w 288"/>
                <a:gd name="T9" fmla="*/ 147205 h 264"/>
                <a:gd name="T10" fmla="*/ 449439 w 288"/>
                <a:gd name="T11" fmla="*/ 191366 h 264"/>
                <a:gd name="T12" fmla="*/ 466725 w 288"/>
                <a:gd name="T13" fmla="*/ 220807 h 264"/>
                <a:gd name="T14" fmla="*/ 466725 w 288"/>
                <a:gd name="T15" fmla="*/ 235527 h 264"/>
                <a:gd name="T16" fmla="*/ 466725 w 288"/>
                <a:gd name="T17" fmla="*/ 250248 h 264"/>
                <a:gd name="T18" fmla="*/ 484011 w 288"/>
                <a:gd name="T19" fmla="*/ 250248 h 264"/>
                <a:gd name="T20" fmla="*/ 501297 w 288"/>
                <a:gd name="T21" fmla="*/ 250248 h 264"/>
                <a:gd name="T22" fmla="*/ 518583 w 288"/>
                <a:gd name="T23" fmla="*/ 250248 h 264"/>
                <a:gd name="T24" fmla="*/ 535869 w 288"/>
                <a:gd name="T25" fmla="*/ 250248 h 264"/>
                <a:gd name="T26" fmla="*/ 553156 w 288"/>
                <a:gd name="T27" fmla="*/ 250248 h 264"/>
                <a:gd name="T28" fmla="*/ 570442 w 288"/>
                <a:gd name="T29" fmla="*/ 250248 h 264"/>
                <a:gd name="T30" fmla="*/ 570442 w 288"/>
                <a:gd name="T31" fmla="*/ 235527 h 264"/>
                <a:gd name="T32" fmla="*/ 587728 w 288"/>
                <a:gd name="T33" fmla="*/ 235527 h 264"/>
                <a:gd name="T34" fmla="*/ 605014 w 288"/>
                <a:gd name="T35" fmla="*/ 250248 h 264"/>
                <a:gd name="T36" fmla="*/ 622300 w 288"/>
                <a:gd name="T37" fmla="*/ 264968 h 264"/>
                <a:gd name="T38" fmla="*/ 622300 w 288"/>
                <a:gd name="T39" fmla="*/ 294409 h 264"/>
                <a:gd name="T40" fmla="*/ 587728 w 288"/>
                <a:gd name="T41" fmla="*/ 353291 h 264"/>
                <a:gd name="T42" fmla="*/ 518583 w 288"/>
                <a:gd name="T43" fmla="*/ 397452 h 264"/>
                <a:gd name="T44" fmla="*/ 432153 w 288"/>
                <a:gd name="T45" fmla="*/ 412173 h 264"/>
                <a:gd name="T46" fmla="*/ 328436 w 288"/>
                <a:gd name="T47" fmla="*/ 485775 h 264"/>
                <a:gd name="T48" fmla="*/ 276578 w 288"/>
                <a:gd name="T49" fmla="*/ 426893 h 264"/>
                <a:gd name="T50" fmla="*/ 242006 w 288"/>
                <a:gd name="T51" fmla="*/ 441614 h 264"/>
                <a:gd name="T52" fmla="*/ 242006 w 288"/>
                <a:gd name="T53" fmla="*/ 426893 h 264"/>
                <a:gd name="T54" fmla="*/ 190147 w 288"/>
                <a:gd name="T55" fmla="*/ 353291 h 264"/>
                <a:gd name="T56" fmla="*/ 155575 w 288"/>
                <a:gd name="T57" fmla="*/ 338570 h 264"/>
                <a:gd name="T58" fmla="*/ 138289 w 288"/>
                <a:gd name="T59" fmla="*/ 309130 h 264"/>
                <a:gd name="T60" fmla="*/ 138289 w 288"/>
                <a:gd name="T61" fmla="*/ 264968 h 264"/>
                <a:gd name="T62" fmla="*/ 121003 w 288"/>
                <a:gd name="T63" fmla="*/ 235527 h 264"/>
                <a:gd name="T64" fmla="*/ 86431 w 288"/>
                <a:gd name="T65" fmla="*/ 220807 h 264"/>
                <a:gd name="T66" fmla="*/ 17286 w 288"/>
                <a:gd name="T67" fmla="*/ 117764 h 264"/>
                <a:gd name="T68" fmla="*/ 0 w 288"/>
                <a:gd name="T69" fmla="*/ 117764 h 264"/>
                <a:gd name="T70" fmla="*/ 0 w 288"/>
                <a:gd name="T71" fmla="*/ 73602 h 264"/>
                <a:gd name="T72" fmla="*/ 34572 w 288"/>
                <a:gd name="T73" fmla="*/ 73602 h 264"/>
                <a:gd name="T74" fmla="*/ 51858 w 288"/>
                <a:gd name="T75" fmla="*/ 58882 h 264"/>
                <a:gd name="T76" fmla="*/ 69144 w 288"/>
                <a:gd name="T77" fmla="*/ 58882 h 264"/>
                <a:gd name="T78" fmla="*/ 86431 w 288"/>
                <a:gd name="T79" fmla="*/ 44161 h 264"/>
                <a:gd name="T80" fmla="*/ 51858 w 288"/>
                <a:gd name="T81" fmla="*/ 14720 h 264"/>
                <a:gd name="T82" fmla="*/ 121003 w 288"/>
                <a:gd name="T83" fmla="*/ 0 h 264"/>
                <a:gd name="T84" fmla="*/ 155575 w 288"/>
                <a:gd name="T85" fmla="*/ 14720 h 264"/>
                <a:gd name="T86" fmla="*/ 224719 w 288"/>
                <a:gd name="T87" fmla="*/ 44161 h 264"/>
                <a:gd name="T88" fmla="*/ 242006 w 288"/>
                <a:gd name="T89" fmla="*/ 44161 h 264"/>
                <a:gd name="T90" fmla="*/ 242006 w 288"/>
                <a:gd name="T91" fmla="*/ 73602 h 264"/>
                <a:gd name="T92" fmla="*/ 276578 w 288"/>
                <a:gd name="T93" fmla="*/ 88323 h 26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88"/>
                <a:gd name="T142" fmla="*/ 0 h 264"/>
                <a:gd name="T143" fmla="*/ 288 w 288"/>
                <a:gd name="T144" fmla="*/ 264 h 26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88" h="264">
                  <a:moveTo>
                    <a:pt x="128" y="48"/>
                  </a:moveTo>
                  <a:lnTo>
                    <a:pt x="136" y="48"/>
                  </a:lnTo>
                  <a:lnTo>
                    <a:pt x="152" y="48"/>
                  </a:lnTo>
                  <a:lnTo>
                    <a:pt x="176" y="56"/>
                  </a:lnTo>
                  <a:lnTo>
                    <a:pt x="200" y="80"/>
                  </a:lnTo>
                  <a:lnTo>
                    <a:pt x="208" y="104"/>
                  </a:lnTo>
                  <a:lnTo>
                    <a:pt x="216" y="120"/>
                  </a:lnTo>
                  <a:lnTo>
                    <a:pt x="216" y="128"/>
                  </a:lnTo>
                  <a:lnTo>
                    <a:pt x="216" y="136"/>
                  </a:lnTo>
                  <a:lnTo>
                    <a:pt x="224" y="136"/>
                  </a:lnTo>
                  <a:lnTo>
                    <a:pt x="232" y="136"/>
                  </a:lnTo>
                  <a:lnTo>
                    <a:pt x="240" y="136"/>
                  </a:lnTo>
                  <a:lnTo>
                    <a:pt x="248" y="136"/>
                  </a:lnTo>
                  <a:lnTo>
                    <a:pt x="256" y="136"/>
                  </a:lnTo>
                  <a:lnTo>
                    <a:pt x="264" y="136"/>
                  </a:lnTo>
                  <a:lnTo>
                    <a:pt x="264" y="128"/>
                  </a:lnTo>
                  <a:lnTo>
                    <a:pt x="272" y="128"/>
                  </a:lnTo>
                  <a:lnTo>
                    <a:pt x="280" y="136"/>
                  </a:lnTo>
                  <a:lnTo>
                    <a:pt x="288" y="144"/>
                  </a:lnTo>
                  <a:lnTo>
                    <a:pt x="288" y="160"/>
                  </a:lnTo>
                  <a:lnTo>
                    <a:pt x="272" y="192"/>
                  </a:lnTo>
                  <a:lnTo>
                    <a:pt x="240" y="216"/>
                  </a:lnTo>
                  <a:lnTo>
                    <a:pt x="200" y="224"/>
                  </a:lnTo>
                  <a:lnTo>
                    <a:pt x="152" y="264"/>
                  </a:lnTo>
                  <a:lnTo>
                    <a:pt x="128" y="232"/>
                  </a:lnTo>
                  <a:lnTo>
                    <a:pt x="112" y="240"/>
                  </a:lnTo>
                  <a:lnTo>
                    <a:pt x="112" y="232"/>
                  </a:lnTo>
                  <a:lnTo>
                    <a:pt x="88" y="192"/>
                  </a:lnTo>
                  <a:lnTo>
                    <a:pt x="72" y="184"/>
                  </a:lnTo>
                  <a:lnTo>
                    <a:pt x="64" y="168"/>
                  </a:lnTo>
                  <a:lnTo>
                    <a:pt x="64" y="144"/>
                  </a:lnTo>
                  <a:lnTo>
                    <a:pt x="56" y="128"/>
                  </a:lnTo>
                  <a:lnTo>
                    <a:pt x="40" y="120"/>
                  </a:lnTo>
                  <a:lnTo>
                    <a:pt x="8" y="64"/>
                  </a:lnTo>
                  <a:lnTo>
                    <a:pt x="0" y="64"/>
                  </a:lnTo>
                  <a:lnTo>
                    <a:pt x="0" y="40"/>
                  </a:lnTo>
                  <a:lnTo>
                    <a:pt x="16" y="40"/>
                  </a:lnTo>
                  <a:lnTo>
                    <a:pt x="24" y="32"/>
                  </a:lnTo>
                  <a:lnTo>
                    <a:pt x="32" y="32"/>
                  </a:lnTo>
                  <a:lnTo>
                    <a:pt x="40" y="24"/>
                  </a:lnTo>
                  <a:lnTo>
                    <a:pt x="24" y="8"/>
                  </a:lnTo>
                  <a:lnTo>
                    <a:pt x="56" y="0"/>
                  </a:lnTo>
                  <a:lnTo>
                    <a:pt x="72" y="8"/>
                  </a:lnTo>
                  <a:lnTo>
                    <a:pt x="104" y="24"/>
                  </a:lnTo>
                  <a:lnTo>
                    <a:pt x="112" y="24"/>
                  </a:lnTo>
                  <a:lnTo>
                    <a:pt x="112" y="40"/>
                  </a:lnTo>
                  <a:lnTo>
                    <a:pt x="128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45">
              <a:extLst>
                <a:ext uri="{FF2B5EF4-FFF2-40B4-BE49-F238E27FC236}">
                  <a16:creationId xmlns:a16="http://schemas.microsoft.com/office/drawing/2014/main" id="{FEC21A0A-3870-4165-83AB-16037E751550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7961868" y="3303181"/>
              <a:ext cx="44053" cy="57680"/>
            </a:xfrm>
            <a:custGeom>
              <a:avLst/>
              <a:gdLst>
                <a:gd name="T0" fmla="*/ 0 w 16"/>
                <a:gd name="T1" fmla="*/ 14817 h 24"/>
                <a:gd name="T2" fmla="*/ 17463 w 16"/>
                <a:gd name="T3" fmla="*/ 0 h 24"/>
                <a:gd name="T4" fmla="*/ 34925 w 16"/>
                <a:gd name="T5" fmla="*/ 0 h 24"/>
                <a:gd name="T6" fmla="*/ 34925 w 16"/>
                <a:gd name="T7" fmla="*/ 29633 h 24"/>
                <a:gd name="T8" fmla="*/ 17463 w 16"/>
                <a:gd name="T9" fmla="*/ 44450 h 24"/>
                <a:gd name="T10" fmla="*/ 0 w 16"/>
                <a:gd name="T11" fmla="*/ 14817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24"/>
                <a:gd name="T20" fmla="*/ 16 w 16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24">
                  <a:moveTo>
                    <a:pt x="0" y="8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8" y="2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46">
              <a:extLst>
                <a:ext uri="{FF2B5EF4-FFF2-40B4-BE49-F238E27FC236}">
                  <a16:creationId xmlns:a16="http://schemas.microsoft.com/office/drawing/2014/main" id="{614CEC37-3384-4722-9E1D-1D33EB3269AC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7983894" y="3303181"/>
              <a:ext cx="196237" cy="96821"/>
            </a:xfrm>
            <a:custGeom>
              <a:avLst/>
              <a:gdLst>
                <a:gd name="T0" fmla="*/ 155575 w 72"/>
                <a:gd name="T1" fmla="*/ 14923 h 40"/>
                <a:gd name="T2" fmla="*/ 155575 w 72"/>
                <a:gd name="T3" fmla="*/ 29845 h 40"/>
                <a:gd name="T4" fmla="*/ 138289 w 72"/>
                <a:gd name="T5" fmla="*/ 44768 h 40"/>
                <a:gd name="T6" fmla="*/ 138289 w 72"/>
                <a:gd name="T7" fmla="*/ 59690 h 40"/>
                <a:gd name="T8" fmla="*/ 121003 w 72"/>
                <a:gd name="T9" fmla="*/ 59690 h 40"/>
                <a:gd name="T10" fmla="*/ 103717 w 72"/>
                <a:gd name="T11" fmla="*/ 59690 h 40"/>
                <a:gd name="T12" fmla="*/ 103717 w 72"/>
                <a:gd name="T13" fmla="*/ 74613 h 40"/>
                <a:gd name="T14" fmla="*/ 86431 w 72"/>
                <a:gd name="T15" fmla="*/ 74613 h 40"/>
                <a:gd name="T16" fmla="*/ 69144 w 72"/>
                <a:gd name="T17" fmla="*/ 74613 h 40"/>
                <a:gd name="T18" fmla="*/ 51858 w 72"/>
                <a:gd name="T19" fmla="*/ 74613 h 40"/>
                <a:gd name="T20" fmla="*/ 34572 w 72"/>
                <a:gd name="T21" fmla="*/ 74613 h 40"/>
                <a:gd name="T22" fmla="*/ 17286 w 72"/>
                <a:gd name="T23" fmla="*/ 74613 h 40"/>
                <a:gd name="T24" fmla="*/ 0 w 72"/>
                <a:gd name="T25" fmla="*/ 74613 h 40"/>
                <a:gd name="T26" fmla="*/ 0 w 72"/>
                <a:gd name="T27" fmla="*/ 59690 h 40"/>
                <a:gd name="T28" fmla="*/ 0 w 72"/>
                <a:gd name="T29" fmla="*/ 44768 h 40"/>
                <a:gd name="T30" fmla="*/ 34572 w 72"/>
                <a:gd name="T31" fmla="*/ 59690 h 40"/>
                <a:gd name="T32" fmla="*/ 51858 w 72"/>
                <a:gd name="T33" fmla="*/ 44768 h 40"/>
                <a:gd name="T34" fmla="*/ 86431 w 72"/>
                <a:gd name="T35" fmla="*/ 44768 h 40"/>
                <a:gd name="T36" fmla="*/ 138289 w 72"/>
                <a:gd name="T37" fmla="*/ 0 h 40"/>
                <a:gd name="T38" fmla="*/ 155575 w 72"/>
                <a:gd name="T39" fmla="*/ 14923 h 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2"/>
                <a:gd name="T61" fmla="*/ 0 h 40"/>
                <a:gd name="T62" fmla="*/ 72 w 72"/>
                <a:gd name="T63" fmla="*/ 40 h 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2" h="40">
                  <a:moveTo>
                    <a:pt x="72" y="8"/>
                  </a:moveTo>
                  <a:lnTo>
                    <a:pt x="72" y="16"/>
                  </a:lnTo>
                  <a:lnTo>
                    <a:pt x="64" y="24"/>
                  </a:lnTo>
                  <a:lnTo>
                    <a:pt x="64" y="32"/>
                  </a:lnTo>
                  <a:lnTo>
                    <a:pt x="56" y="32"/>
                  </a:lnTo>
                  <a:lnTo>
                    <a:pt x="48" y="32"/>
                  </a:lnTo>
                  <a:lnTo>
                    <a:pt x="48" y="40"/>
                  </a:lnTo>
                  <a:lnTo>
                    <a:pt x="40" y="40"/>
                  </a:lnTo>
                  <a:lnTo>
                    <a:pt x="32" y="40"/>
                  </a:lnTo>
                  <a:lnTo>
                    <a:pt x="24" y="40"/>
                  </a:lnTo>
                  <a:lnTo>
                    <a:pt x="16" y="40"/>
                  </a:lnTo>
                  <a:lnTo>
                    <a:pt x="8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16" y="32"/>
                  </a:lnTo>
                  <a:lnTo>
                    <a:pt x="24" y="24"/>
                  </a:lnTo>
                  <a:lnTo>
                    <a:pt x="40" y="24"/>
                  </a:lnTo>
                  <a:lnTo>
                    <a:pt x="64" y="0"/>
                  </a:lnTo>
                  <a:lnTo>
                    <a:pt x="72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47">
              <a:extLst>
                <a:ext uri="{FF2B5EF4-FFF2-40B4-BE49-F238E27FC236}">
                  <a16:creationId xmlns:a16="http://schemas.microsoft.com/office/drawing/2014/main" id="{B15240F9-A36A-4AAB-AA42-5168597F352D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158105" y="3284642"/>
              <a:ext cx="22027" cy="37080"/>
            </a:xfrm>
            <a:custGeom>
              <a:avLst/>
              <a:gdLst>
                <a:gd name="T0" fmla="*/ 17463 w 8"/>
                <a:gd name="T1" fmla="*/ 28575 h 16"/>
                <a:gd name="T2" fmla="*/ 17463 w 8"/>
                <a:gd name="T3" fmla="*/ 0 h 16"/>
                <a:gd name="T4" fmla="*/ 0 w 8"/>
                <a:gd name="T5" fmla="*/ 0 h 16"/>
                <a:gd name="T6" fmla="*/ 0 w 8"/>
                <a:gd name="T7" fmla="*/ 14288 h 16"/>
                <a:gd name="T8" fmla="*/ 17463 w 8"/>
                <a:gd name="T9" fmla="*/ 28575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6"/>
                <a:gd name="T17" fmla="*/ 8 w 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6">
                  <a:moveTo>
                    <a:pt x="8" y="16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48">
              <a:extLst>
                <a:ext uri="{FF2B5EF4-FFF2-40B4-BE49-F238E27FC236}">
                  <a16:creationId xmlns:a16="http://schemas.microsoft.com/office/drawing/2014/main" id="{1234E85B-948A-46AA-AEB7-1620F5B946B9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0929455" y="4240485"/>
              <a:ext cx="370448" cy="325481"/>
            </a:xfrm>
            <a:custGeom>
              <a:avLst/>
              <a:gdLst>
                <a:gd name="T0" fmla="*/ 293688 w 136"/>
                <a:gd name="T1" fmla="*/ 250825 h 136"/>
                <a:gd name="T2" fmla="*/ 259136 w 136"/>
                <a:gd name="T3" fmla="*/ 221316 h 136"/>
                <a:gd name="T4" fmla="*/ 190033 w 136"/>
                <a:gd name="T5" fmla="*/ 236071 h 136"/>
                <a:gd name="T6" fmla="*/ 207309 w 136"/>
                <a:gd name="T7" fmla="*/ 206562 h 136"/>
                <a:gd name="T8" fmla="*/ 224585 w 136"/>
                <a:gd name="T9" fmla="*/ 206562 h 136"/>
                <a:gd name="T10" fmla="*/ 207309 w 136"/>
                <a:gd name="T11" fmla="*/ 147544 h 136"/>
                <a:gd name="T12" fmla="*/ 190033 w 136"/>
                <a:gd name="T13" fmla="*/ 132790 h 136"/>
                <a:gd name="T14" fmla="*/ 120930 w 136"/>
                <a:gd name="T15" fmla="*/ 118035 h 136"/>
                <a:gd name="T16" fmla="*/ 86379 w 136"/>
                <a:gd name="T17" fmla="*/ 88526 h 136"/>
                <a:gd name="T18" fmla="*/ 69103 w 136"/>
                <a:gd name="T19" fmla="*/ 103281 h 136"/>
                <a:gd name="T20" fmla="*/ 51827 w 136"/>
                <a:gd name="T21" fmla="*/ 103281 h 136"/>
                <a:gd name="T22" fmla="*/ 51827 w 136"/>
                <a:gd name="T23" fmla="*/ 88526 h 136"/>
                <a:gd name="T24" fmla="*/ 34552 w 136"/>
                <a:gd name="T25" fmla="*/ 73772 h 136"/>
                <a:gd name="T26" fmla="*/ 86379 w 136"/>
                <a:gd name="T27" fmla="*/ 73772 h 136"/>
                <a:gd name="T28" fmla="*/ 86379 w 136"/>
                <a:gd name="T29" fmla="*/ 59018 h 136"/>
                <a:gd name="T30" fmla="*/ 34552 w 136"/>
                <a:gd name="T31" fmla="*/ 59018 h 136"/>
                <a:gd name="T32" fmla="*/ 34552 w 136"/>
                <a:gd name="T33" fmla="*/ 44263 h 136"/>
                <a:gd name="T34" fmla="*/ 0 w 136"/>
                <a:gd name="T35" fmla="*/ 29509 h 136"/>
                <a:gd name="T36" fmla="*/ 34552 w 136"/>
                <a:gd name="T37" fmla="*/ 0 h 136"/>
                <a:gd name="T38" fmla="*/ 69103 w 136"/>
                <a:gd name="T39" fmla="*/ 0 h 136"/>
                <a:gd name="T40" fmla="*/ 69103 w 136"/>
                <a:gd name="T41" fmla="*/ 14754 h 136"/>
                <a:gd name="T42" fmla="*/ 86379 w 136"/>
                <a:gd name="T43" fmla="*/ 14754 h 136"/>
                <a:gd name="T44" fmla="*/ 103655 w 136"/>
                <a:gd name="T45" fmla="*/ 59018 h 136"/>
                <a:gd name="T46" fmla="*/ 120930 w 136"/>
                <a:gd name="T47" fmla="*/ 88526 h 136"/>
                <a:gd name="T48" fmla="*/ 138206 w 136"/>
                <a:gd name="T49" fmla="*/ 88526 h 136"/>
                <a:gd name="T50" fmla="*/ 172758 w 136"/>
                <a:gd name="T51" fmla="*/ 59018 h 136"/>
                <a:gd name="T52" fmla="*/ 207309 w 136"/>
                <a:gd name="T53" fmla="*/ 44263 h 136"/>
                <a:gd name="T54" fmla="*/ 293688 w 136"/>
                <a:gd name="T55" fmla="*/ 73772 h 136"/>
                <a:gd name="T56" fmla="*/ 293688 w 136"/>
                <a:gd name="T57" fmla="*/ 250825 h 1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"/>
                <a:gd name="T88" fmla="*/ 0 h 136"/>
                <a:gd name="T89" fmla="*/ 136 w 136"/>
                <a:gd name="T90" fmla="*/ 136 h 1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" h="136">
                  <a:moveTo>
                    <a:pt x="136" y="136"/>
                  </a:moveTo>
                  <a:lnTo>
                    <a:pt x="120" y="120"/>
                  </a:lnTo>
                  <a:lnTo>
                    <a:pt x="88" y="128"/>
                  </a:lnTo>
                  <a:lnTo>
                    <a:pt x="96" y="112"/>
                  </a:lnTo>
                  <a:lnTo>
                    <a:pt x="104" y="112"/>
                  </a:lnTo>
                  <a:lnTo>
                    <a:pt x="96" y="80"/>
                  </a:lnTo>
                  <a:lnTo>
                    <a:pt x="88" y="72"/>
                  </a:lnTo>
                  <a:lnTo>
                    <a:pt x="56" y="64"/>
                  </a:lnTo>
                  <a:lnTo>
                    <a:pt x="40" y="48"/>
                  </a:lnTo>
                  <a:lnTo>
                    <a:pt x="32" y="56"/>
                  </a:lnTo>
                  <a:lnTo>
                    <a:pt x="24" y="56"/>
                  </a:lnTo>
                  <a:lnTo>
                    <a:pt x="24" y="48"/>
                  </a:lnTo>
                  <a:lnTo>
                    <a:pt x="16" y="40"/>
                  </a:lnTo>
                  <a:lnTo>
                    <a:pt x="40" y="40"/>
                  </a:lnTo>
                  <a:lnTo>
                    <a:pt x="40" y="32"/>
                  </a:lnTo>
                  <a:lnTo>
                    <a:pt x="16" y="32"/>
                  </a:lnTo>
                  <a:lnTo>
                    <a:pt x="16" y="24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32" y="8"/>
                  </a:lnTo>
                  <a:lnTo>
                    <a:pt x="40" y="8"/>
                  </a:lnTo>
                  <a:lnTo>
                    <a:pt x="48" y="32"/>
                  </a:lnTo>
                  <a:lnTo>
                    <a:pt x="56" y="48"/>
                  </a:lnTo>
                  <a:lnTo>
                    <a:pt x="64" y="48"/>
                  </a:lnTo>
                  <a:lnTo>
                    <a:pt x="80" y="32"/>
                  </a:lnTo>
                  <a:lnTo>
                    <a:pt x="96" y="24"/>
                  </a:lnTo>
                  <a:lnTo>
                    <a:pt x="136" y="40"/>
                  </a:lnTo>
                  <a:lnTo>
                    <a:pt x="136" y="13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49">
              <a:extLst>
                <a:ext uri="{FF2B5EF4-FFF2-40B4-BE49-F238E27FC236}">
                  <a16:creationId xmlns:a16="http://schemas.microsoft.com/office/drawing/2014/main" id="{20BB512A-7CBB-4296-9A92-CE74964DEFDF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1299902" y="4337305"/>
              <a:ext cx="326395" cy="286342"/>
            </a:xfrm>
            <a:custGeom>
              <a:avLst/>
              <a:gdLst>
                <a:gd name="T0" fmla="*/ 0 w 120"/>
                <a:gd name="T1" fmla="*/ 0 h 120"/>
                <a:gd name="T2" fmla="*/ 69003 w 120"/>
                <a:gd name="T3" fmla="*/ 14711 h 120"/>
                <a:gd name="T4" fmla="*/ 120756 w 120"/>
                <a:gd name="T5" fmla="*/ 44133 h 120"/>
                <a:gd name="T6" fmla="*/ 138007 w 120"/>
                <a:gd name="T7" fmla="*/ 73554 h 120"/>
                <a:gd name="T8" fmla="*/ 172509 w 120"/>
                <a:gd name="T9" fmla="*/ 88265 h 120"/>
                <a:gd name="T10" fmla="*/ 189760 w 120"/>
                <a:gd name="T11" fmla="*/ 88265 h 120"/>
                <a:gd name="T12" fmla="*/ 189760 w 120"/>
                <a:gd name="T13" fmla="*/ 102976 h 120"/>
                <a:gd name="T14" fmla="*/ 172509 w 120"/>
                <a:gd name="T15" fmla="*/ 117687 h 120"/>
                <a:gd name="T16" fmla="*/ 172509 w 120"/>
                <a:gd name="T17" fmla="*/ 132398 h 120"/>
                <a:gd name="T18" fmla="*/ 189760 w 120"/>
                <a:gd name="T19" fmla="*/ 147109 h 120"/>
                <a:gd name="T20" fmla="*/ 207010 w 120"/>
                <a:gd name="T21" fmla="*/ 176530 h 120"/>
                <a:gd name="T22" fmla="*/ 224261 w 120"/>
                <a:gd name="T23" fmla="*/ 176530 h 120"/>
                <a:gd name="T24" fmla="*/ 224261 w 120"/>
                <a:gd name="T25" fmla="*/ 191241 h 120"/>
                <a:gd name="T26" fmla="*/ 241512 w 120"/>
                <a:gd name="T27" fmla="*/ 191241 h 120"/>
                <a:gd name="T28" fmla="*/ 241512 w 120"/>
                <a:gd name="T29" fmla="*/ 205952 h 120"/>
                <a:gd name="T30" fmla="*/ 258763 w 120"/>
                <a:gd name="T31" fmla="*/ 205952 h 120"/>
                <a:gd name="T32" fmla="*/ 258763 w 120"/>
                <a:gd name="T33" fmla="*/ 220663 h 120"/>
                <a:gd name="T34" fmla="*/ 241512 w 120"/>
                <a:gd name="T35" fmla="*/ 220663 h 120"/>
                <a:gd name="T36" fmla="*/ 241512 w 120"/>
                <a:gd name="T37" fmla="*/ 205952 h 120"/>
                <a:gd name="T38" fmla="*/ 172509 w 120"/>
                <a:gd name="T39" fmla="*/ 205952 h 120"/>
                <a:gd name="T40" fmla="*/ 138007 w 120"/>
                <a:gd name="T41" fmla="*/ 147109 h 120"/>
                <a:gd name="T42" fmla="*/ 103505 w 120"/>
                <a:gd name="T43" fmla="*/ 132398 h 120"/>
                <a:gd name="T44" fmla="*/ 86254 w 120"/>
                <a:gd name="T45" fmla="*/ 132398 h 120"/>
                <a:gd name="T46" fmla="*/ 51753 w 120"/>
                <a:gd name="T47" fmla="*/ 161820 h 120"/>
                <a:gd name="T48" fmla="*/ 34502 w 120"/>
                <a:gd name="T49" fmla="*/ 176530 h 120"/>
                <a:gd name="T50" fmla="*/ 0 w 120"/>
                <a:gd name="T51" fmla="*/ 176530 h 120"/>
                <a:gd name="T52" fmla="*/ 0 w 120"/>
                <a:gd name="T53" fmla="*/ 0 h 12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0"/>
                <a:gd name="T82" fmla="*/ 0 h 120"/>
                <a:gd name="T83" fmla="*/ 120 w 120"/>
                <a:gd name="T84" fmla="*/ 120 h 12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0" h="120">
                  <a:moveTo>
                    <a:pt x="0" y="0"/>
                  </a:moveTo>
                  <a:lnTo>
                    <a:pt x="32" y="8"/>
                  </a:lnTo>
                  <a:lnTo>
                    <a:pt x="56" y="24"/>
                  </a:lnTo>
                  <a:lnTo>
                    <a:pt x="64" y="40"/>
                  </a:lnTo>
                  <a:lnTo>
                    <a:pt x="80" y="48"/>
                  </a:lnTo>
                  <a:lnTo>
                    <a:pt x="88" y="48"/>
                  </a:lnTo>
                  <a:lnTo>
                    <a:pt x="88" y="56"/>
                  </a:lnTo>
                  <a:lnTo>
                    <a:pt x="80" y="64"/>
                  </a:lnTo>
                  <a:lnTo>
                    <a:pt x="80" y="72"/>
                  </a:lnTo>
                  <a:lnTo>
                    <a:pt x="88" y="80"/>
                  </a:lnTo>
                  <a:lnTo>
                    <a:pt x="96" y="96"/>
                  </a:lnTo>
                  <a:lnTo>
                    <a:pt x="104" y="96"/>
                  </a:lnTo>
                  <a:lnTo>
                    <a:pt x="104" y="104"/>
                  </a:lnTo>
                  <a:lnTo>
                    <a:pt x="112" y="104"/>
                  </a:lnTo>
                  <a:lnTo>
                    <a:pt x="112" y="112"/>
                  </a:lnTo>
                  <a:lnTo>
                    <a:pt x="120" y="112"/>
                  </a:lnTo>
                  <a:lnTo>
                    <a:pt x="120" y="120"/>
                  </a:lnTo>
                  <a:lnTo>
                    <a:pt x="112" y="120"/>
                  </a:lnTo>
                  <a:lnTo>
                    <a:pt x="112" y="112"/>
                  </a:lnTo>
                  <a:lnTo>
                    <a:pt x="80" y="112"/>
                  </a:lnTo>
                  <a:lnTo>
                    <a:pt x="64" y="80"/>
                  </a:lnTo>
                  <a:lnTo>
                    <a:pt x="48" y="72"/>
                  </a:lnTo>
                  <a:lnTo>
                    <a:pt x="40" y="72"/>
                  </a:lnTo>
                  <a:lnTo>
                    <a:pt x="24" y="88"/>
                  </a:lnTo>
                  <a:lnTo>
                    <a:pt x="16" y="96"/>
                  </a:lnTo>
                  <a:lnTo>
                    <a:pt x="0" y="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50">
              <a:extLst>
                <a:ext uri="{FF2B5EF4-FFF2-40B4-BE49-F238E27FC236}">
                  <a16:creationId xmlns:a16="http://schemas.microsoft.com/office/drawing/2014/main" id="{67279E7F-0590-49DF-864F-FB0B048596B3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10142503" y="4088045"/>
              <a:ext cx="350424" cy="306942"/>
            </a:xfrm>
            <a:custGeom>
              <a:avLst/>
              <a:gdLst>
                <a:gd name="T0" fmla="*/ 208360 w 128"/>
                <a:gd name="T1" fmla="*/ 0 h 128"/>
                <a:gd name="T2" fmla="*/ 190996 w 128"/>
                <a:gd name="T3" fmla="*/ 0 h 128"/>
                <a:gd name="T4" fmla="*/ 156270 w 128"/>
                <a:gd name="T5" fmla="*/ 73918 h 128"/>
                <a:gd name="T6" fmla="*/ 121543 w 128"/>
                <a:gd name="T7" fmla="*/ 88702 h 128"/>
                <a:gd name="T8" fmla="*/ 86817 w 128"/>
                <a:gd name="T9" fmla="*/ 73918 h 128"/>
                <a:gd name="T10" fmla="*/ 69453 w 128"/>
                <a:gd name="T11" fmla="*/ 88702 h 128"/>
                <a:gd name="T12" fmla="*/ 34727 w 128"/>
                <a:gd name="T13" fmla="*/ 88702 h 128"/>
                <a:gd name="T14" fmla="*/ 17363 w 128"/>
                <a:gd name="T15" fmla="*/ 59135 h 128"/>
                <a:gd name="T16" fmla="*/ 0 w 128"/>
                <a:gd name="T17" fmla="*/ 88702 h 128"/>
                <a:gd name="T18" fmla="*/ 0 w 128"/>
                <a:gd name="T19" fmla="*/ 133053 h 128"/>
                <a:gd name="T20" fmla="*/ 17363 w 128"/>
                <a:gd name="T21" fmla="*/ 147836 h 128"/>
                <a:gd name="T22" fmla="*/ 34727 w 128"/>
                <a:gd name="T23" fmla="*/ 192187 h 128"/>
                <a:gd name="T24" fmla="*/ 69453 w 128"/>
                <a:gd name="T25" fmla="*/ 192187 h 128"/>
                <a:gd name="T26" fmla="*/ 69453 w 128"/>
                <a:gd name="T27" fmla="*/ 206971 h 128"/>
                <a:gd name="T28" fmla="*/ 121543 w 128"/>
                <a:gd name="T29" fmla="*/ 206971 h 128"/>
                <a:gd name="T30" fmla="*/ 138907 w 128"/>
                <a:gd name="T31" fmla="*/ 206971 h 128"/>
                <a:gd name="T32" fmla="*/ 156270 w 128"/>
                <a:gd name="T33" fmla="*/ 236538 h 128"/>
                <a:gd name="T34" fmla="*/ 173633 w 128"/>
                <a:gd name="T35" fmla="*/ 221754 h 128"/>
                <a:gd name="T36" fmla="*/ 208360 w 128"/>
                <a:gd name="T37" fmla="*/ 206971 h 128"/>
                <a:gd name="T38" fmla="*/ 208360 w 128"/>
                <a:gd name="T39" fmla="*/ 177403 h 128"/>
                <a:gd name="T40" fmla="*/ 208360 w 128"/>
                <a:gd name="T41" fmla="*/ 162620 h 128"/>
                <a:gd name="T42" fmla="*/ 225723 w 128"/>
                <a:gd name="T43" fmla="*/ 147836 h 128"/>
                <a:gd name="T44" fmla="*/ 260450 w 128"/>
                <a:gd name="T45" fmla="*/ 88702 h 128"/>
                <a:gd name="T46" fmla="*/ 277813 w 128"/>
                <a:gd name="T47" fmla="*/ 88702 h 128"/>
                <a:gd name="T48" fmla="*/ 243086 w 128"/>
                <a:gd name="T49" fmla="*/ 59135 h 128"/>
                <a:gd name="T50" fmla="*/ 260450 w 128"/>
                <a:gd name="T51" fmla="*/ 44351 h 128"/>
                <a:gd name="T52" fmla="*/ 243086 w 128"/>
                <a:gd name="T53" fmla="*/ 29567 h 128"/>
                <a:gd name="T54" fmla="*/ 243086 w 128"/>
                <a:gd name="T55" fmla="*/ 0 h 128"/>
                <a:gd name="T56" fmla="*/ 208360 w 128"/>
                <a:gd name="T57" fmla="*/ 0 h 12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28"/>
                <a:gd name="T88" fmla="*/ 0 h 128"/>
                <a:gd name="T89" fmla="*/ 128 w 128"/>
                <a:gd name="T90" fmla="*/ 128 h 12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28" h="128">
                  <a:moveTo>
                    <a:pt x="96" y="0"/>
                  </a:moveTo>
                  <a:lnTo>
                    <a:pt x="88" y="0"/>
                  </a:lnTo>
                  <a:lnTo>
                    <a:pt x="72" y="40"/>
                  </a:lnTo>
                  <a:lnTo>
                    <a:pt x="56" y="48"/>
                  </a:lnTo>
                  <a:lnTo>
                    <a:pt x="40" y="40"/>
                  </a:lnTo>
                  <a:lnTo>
                    <a:pt x="32" y="48"/>
                  </a:lnTo>
                  <a:lnTo>
                    <a:pt x="16" y="48"/>
                  </a:lnTo>
                  <a:lnTo>
                    <a:pt x="8" y="32"/>
                  </a:lnTo>
                  <a:lnTo>
                    <a:pt x="0" y="48"/>
                  </a:lnTo>
                  <a:lnTo>
                    <a:pt x="0" y="72"/>
                  </a:lnTo>
                  <a:lnTo>
                    <a:pt x="8" y="80"/>
                  </a:lnTo>
                  <a:lnTo>
                    <a:pt x="16" y="104"/>
                  </a:lnTo>
                  <a:lnTo>
                    <a:pt x="32" y="104"/>
                  </a:lnTo>
                  <a:lnTo>
                    <a:pt x="32" y="112"/>
                  </a:lnTo>
                  <a:lnTo>
                    <a:pt x="56" y="112"/>
                  </a:lnTo>
                  <a:lnTo>
                    <a:pt x="64" y="112"/>
                  </a:lnTo>
                  <a:lnTo>
                    <a:pt x="72" y="128"/>
                  </a:lnTo>
                  <a:lnTo>
                    <a:pt x="80" y="120"/>
                  </a:lnTo>
                  <a:lnTo>
                    <a:pt x="96" y="112"/>
                  </a:lnTo>
                  <a:lnTo>
                    <a:pt x="96" y="96"/>
                  </a:lnTo>
                  <a:lnTo>
                    <a:pt x="96" y="88"/>
                  </a:lnTo>
                  <a:lnTo>
                    <a:pt x="104" y="80"/>
                  </a:lnTo>
                  <a:lnTo>
                    <a:pt x="120" y="48"/>
                  </a:lnTo>
                  <a:lnTo>
                    <a:pt x="128" y="48"/>
                  </a:lnTo>
                  <a:lnTo>
                    <a:pt x="112" y="32"/>
                  </a:lnTo>
                  <a:lnTo>
                    <a:pt x="120" y="24"/>
                  </a:lnTo>
                  <a:lnTo>
                    <a:pt x="112" y="16"/>
                  </a:lnTo>
                  <a:lnTo>
                    <a:pt x="11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51">
              <a:extLst>
                <a:ext uri="{FF2B5EF4-FFF2-40B4-BE49-F238E27FC236}">
                  <a16:creationId xmlns:a16="http://schemas.microsoft.com/office/drawing/2014/main" id="{FBA226D5-3FFF-4C28-842C-959612764BD2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0164530" y="3993284"/>
              <a:ext cx="350424" cy="210121"/>
            </a:xfrm>
            <a:custGeom>
              <a:avLst/>
              <a:gdLst>
                <a:gd name="T0" fmla="*/ 260450 w 128"/>
                <a:gd name="T1" fmla="*/ 58882 h 88"/>
                <a:gd name="T2" fmla="*/ 243086 w 128"/>
                <a:gd name="T3" fmla="*/ 58882 h 88"/>
                <a:gd name="T4" fmla="*/ 277813 w 128"/>
                <a:gd name="T5" fmla="*/ 44161 h 88"/>
                <a:gd name="T6" fmla="*/ 225723 w 128"/>
                <a:gd name="T7" fmla="*/ 29441 h 88"/>
                <a:gd name="T8" fmla="*/ 225723 w 128"/>
                <a:gd name="T9" fmla="*/ 14720 h 88"/>
                <a:gd name="T10" fmla="*/ 208360 w 128"/>
                <a:gd name="T11" fmla="*/ 0 h 88"/>
                <a:gd name="T12" fmla="*/ 156270 w 128"/>
                <a:gd name="T13" fmla="*/ 44161 h 88"/>
                <a:gd name="T14" fmla="*/ 156270 w 128"/>
                <a:gd name="T15" fmla="*/ 58882 h 88"/>
                <a:gd name="T16" fmla="*/ 138907 w 128"/>
                <a:gd name="T17" fmla="*/ 58882 h 88"/>
                <a:gd name="T18" fmla="*/ 138907 w 128"/>
                <a:gd name="T19" fmla="*/ 73602 h 88"/>
                <a:gd name="T20" fmla="*/ 121543 w 128"/>
                <a:gd name="T21" fmla="*/ 58882 h 88"/>
                <a:gd name="T22" fmla="*/ 86817 w 128"/>
                <a:gd name="T23" fmla="*/ 103043 h 88"/>
                <a:gd name="T24" fmla="*/ 52090 w 128"/>
                <a:gd name="T25" fmla="*/ 103043 h 88"/>
                <a:gd name="T26" fmla="*/ 34727 w 128"/>
                <a:gd name="T27" fmla="*/ 147205 h 88"/>
                <a:gd name="T28" fmla="*/ 0 w 128"/>
                <a:gd name="T29" fmla="*/ 132484 h 88"/>
                <a:gd name="T30" fmla="*/ 17363 w 128"/>
                <a:gd name="T31" fmla="*/ 161925 h 88"/>
                <a:gd name="T32" fmla="*/ 52090 w 128"/>
                <a:gd name="T33" fmla="*/ 161925 h 88"/>
                <a:gd name="T34" fmla="*/ 69453 w 128"/>
                <a:gd name="T35" fmla="*/ 147205 h 88"/>
                <a:gd name="T36" fmla="*/ 104180 w 128"/>
                <a:gd name="T37" fmla="*/ 161925 h 88"/>
                <a:gd name="T38" fmla="*/ 138907 w 128"/>
                <a:gd name="T39" fmla="*/ 147205 h 88"/>
                <a:gd name="T40" fmla="*/ 173633 w 128"/>
                <a:gd name="T41" fmla="*/ 73602 h 88"/>
                <a:gd name="T42" fmla="*/ 190996 w 128"/>
                <a:gd name="T43" fmla="*/ 73602 h 88"/>
                <a:gd name="T44" fmla="*/ 225723 w 128"/>
                <a:gd name="T45" fmla="*/ 73602 h 88"/>
                <a:gd name="T46" fmla="*/ 260450 w 128"/>
                <a:gd name="T47" fmla="*/ 58882 h 8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8"/>
                <a:gd name="T73" fmla="*/ 0 h 88"/>
                <a:gd name="T74" fmla="*/ 128 w 128"/>
                <a:gd name="T75" fmla="*/ 88 h 8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8" h="88">
                  <a:moveTo>
                    <a:pt x="120" y="32"/>
                  </a:moveTo>
                  <a:lnTo>
                    <a:pt x="112" y="32"/>
                  </a:lnTo>
                  <a:lnTo>
                    <a:pt x="128" y="24"/>
                  </a:lnTo>
                  <a:lnTo>
                    <a:pt x="104" y="16"/>
                  </a:lnTo>
                  <a:lnTo>
                    <a:pt x="104" y="8"/>
                  </a:lnTo>
                  <a:lnTo>
                    <a:pt x="96" y="0"/>
                  </a:lnTo>
                  <a:lnTo>
                    <a:pt x="72" y="24"/>
                  </a:lnTo>
                  <a:lnTo>
                    <a:pt x="72" y="32"/>
                  </a:lnTo>
                  <a:lnTo>
                    <a:pt x="64" y="32"/>
                  </a:lnTo>
                  <a:lnTo>
                    <a:pt x="64" y="40"/>
                  </a:lnTo>
                  <a:lnTo>
                    <a:pt x="56" y="32"/>
                  </a:lnTo>
                  <a:lnTo>
                    <a:pt x="40" y="56"/>
                  </a:lnTo>
                  <a:lnTo>
                    <a:pt x="24" y="56"/>
                  </a:lnTo>
                  <a:lnTo>
                    <a:pt x="16" y="80"/>
                  </a:lnTo>
                  <a:lnTo>
                    <a:pt x="0" y="72"/>
                  </a:lnTo>
                  <a:lnTo>
                    <a:pt x="8" y="88"/>
                  </a:lnTo>
                  <a:lnTo>
                    <a:pt x="24" y="88"/>
                  </a:lnTo>
                  <a:lnTo>
                    <a:pt x="32" y="80"/>
                  </a:lnTo>
                  <a:lnTo>
                    <a:pt x="48" y="88"/>
                  </a:lnTo>
                  <a:lnTo>
                    <a:pt x="64" y="80"/>
                  </a:lnTo>
                  <a:lnTo>
                    <a:pt x="80" y="40"/>
                  </a:lnTo>
                  <a:lnTo>
                    <a:pt x="88" y="40"/>
                  </a:lnTo>
                  <a:lnTo>
                    <a:pt x="104" y="40"/>
                  </a:lnTo>
                  <a:lnTo>
                    <a:pt x="120" y="32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52">
              <a:extLst>
                <a:ext uri="{FF2B5EF4-FFF2-40B4-BE49-F238E27FC236}">
                  <a16:creationId xmlns:a16="http://schemas.microsoft.com/office/drawing/2014/main" id="{4E8DD26E-D1F4-48A9-AF4A-210AD1659EC8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10318716" y="4069504"/>
              <a:ext cx="42051" cy="18541"/>
            </a:xfrm>
            <a:custGeom>
              <a:avLst/>
              <a:gdLst>
                <a:gd name="T0" fmla="*/ 33338 w 16"/>
                <a:gd name="T1" fmla="*/ 0 h 8"/>
                <a:gd name="T2" fmla="*/ 16669 w 16"/>
                <a:gd name="T3" fmla="*/ 0 h 8"/>
                <a:gd name="T4" fmla="*/ 16669 w 16"/>
                <a:gd name="T5" fmla="*/ 14288 h 8"/>
                <a:gd name="T6" fmla="*/ 0 w 16"/>
                <a:gd name="T7" fmla="*/ 0 h 8"/>
                <a:gd name="T8" fmla="*/ 33338 w 1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16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53">
              <a:extLst>
                <a:ext uri="{FF2B5EF4-FFF2-40B4-BE49-F238E27FC236}">
                  <a16:creationId xmlns:a16="http://schemas.microsoft.com/office/drawing/2014/main" id="{3153594C-C26F-4484-A069-11F0300E6285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9467688" y="3226962"/>
              <a:ext cx="326395" cy="669503"/>
            </a:xfrm>
            <a:custGeom>
              <a:avLst/>
              <a:gdLst>
                <a:gd name="T0" fmla="*/ 241512 w 120"/>
                <a:gd name="T1" fmla="*/ 442232 h 280"/>
                <a:gd name="T2" fmla="*/ 224261 w 120"/>
                <a:gd name="T3" fmla="*/ 383268 h 280"/>
                <a:gd name="T4" fmla="*/ 189760 w 120"/>
                <a:gd name="T5" fmla="*/ 368527 h 280"/>
                <a:gd name="T6" fmla="*/ 207010 w 120"/>
                <a:gd name="T7" fmla="*/ 324304 h 280"/>
                <a:gd name="T8" fmla="*/ 172509 w 120"/>
                <a:gd name="T9" fmla="*/ 265340 h 280"/>
                <a:gd name="T10" fmla="*/ 172509 w 120"/>
                <a:gd name="T11" fmla="*/ 235857 h 280"/>
                <a:gd name="T12" fmla="*/ 224261 w 120"/>
                <a:gd name="T13" fmla="*/ 206375 h 280"/>
                <a:gd name="T14" fmla="*/ 258763 w 120"/>
                <a:gd name="T15" fmla="*/ 176893 h 280"/>
                <a:gd name="T16" fmla="*/ 224261 w 120"/>
                <a:gd name="T17" fmla="*/ 176893 h 280"/>
                <a:gd name="T18" fmla="*/ 189760 w 120"/>
                <a:gd name="T19" fmla="*/ 162152 h 280"/>
                <a:gd name="T20" fmla="*/ 189760 w 120"/>
                <a:gd name="T21" fmla="*/ 132670 h 280"/>
                <a:gd name="T22" fmla="*/ 172509 w 120"/>
                <a:gd name="T23" fmla="*/ 132670 h 280"/>
                <a:gd name="T24" fmla="*/ 172509 w 120"/>
                <a:gd name="T25" fmla="*/ 103188 h 280"/>
                <a:gd name="T26" fmla="*/ 138007 w 120"/>
                <a:gd name="T27" fmla="*/ 117929 h 280"/>
                <a:gd name="T28" fmla="*/ 155258 w 120"/>
                <a:gd name="T29" fmla="*/ 29482 h 280"/>
                <a:gd name="T30" fmla="*/ 138007 w 120"/>
                <a:gd name="T31" fmla="*/ 0 h 280"/>
                <a:gd name="T32" fmla="*/ 103505 w 120"/>
                <a:gd name="T33" fmla="*/ 0 h 280"/>
                <a:gd name="T34" fmla="*/ 103505 w 120"/>
                <a:gd name="T35" fmla="*/ 14741 h 280"/>
                <a:gd name="T36" fmla="*/ 86254 w 120"/>
                <a:gd name="T37" fmla="*/ 14741 h 280"/>
                <a:gd name="T38" fmla="*/ 51753 w 120"/>
                <a:gd name="T39" fmla="*/ 44223 h 280"/>
                <a:gd name="T40" fmla="*/ 34502 w 120"/>
                <a:gd name="T41" fmla="*/ 117929 h 280"/>
                <a:gd name="T42" fmla="*/ 17251 w 120"/>
                <a:gd name="T43" fmla="*/ 117929 h 280"/>
                <a:gd name="T44" fmla="*/ 17251 w 120"/>
                <a:gd name="T45" fmla="*/ 162152 h 280"/>
                <a:gd name="T46" fmla="*/ 0 w 120"/>
                <a:gd name="T47" fmla="*/ 162152 h 280"/>
                <a:gd name="T48" fmla="*/ 0 w 120"/>
                <a:gd name="T49" fmla="*/ 191634 h 280"/>
                <a:gd name="T50" fmla="*/ 34502 w 120"/>
                <a:gd name="T51" fmla="*/ 221116 h 280"/>
                <a:gd name="T52" fmla="*/ 51753 w 120"/>
                <a:gd name="T53" fmla="*/ 250598 h 280"/>
                <a:gd name="T54" fmla="*/ 69003 w 120"/>
                <a:gd name="T55" fmla="*/ 250598 h 280"/>
                <a:gd name="T56" fmla="*/ 86254 w 120"/>
                <a:gd name="T57" fmla="*/ 294822 h 280"/>
                <a:gd name="T58" fmla="*/ 69003 w 120"/>
                <a:gd name="T59" fmla="*/ 324304 h 280"/>
                <a:gd name="T60" fmla="*/ 120756 w 120"/>
                <a:gd name="T61" fmla="*/ 339045 h 280"/>
                <a:gd name="T62" fmla="*/ 155258 w 120"/>
                <a:gd name="T63" fmla="*/ 309563 h 280"/>
                <a:gd name="T64" fmla="*/ 172509 w 120"/>
                <a:gd name="T65" fmla="*/ 324304 h 280"/>
                <a:gd name="T66" fmla="*/ 224261 w 120"/>
                <a:gd name="T67" fmla="*/ 427491 h 280"/>
                <a:gd name="T68" fmla="*/ 207010 w 120"/>
                <a:gd name="T69" fmla="*/ 442232 h 280"/>
                <a:gd name="T70" fmla="*/ 224261 w 120"/>
                <a:gd name="T71" fmla="*/ 471715 h 280"/>
                <a:gd name="T72" fmla="*/ 207010 w 120"/>
                <a:gd name="T73" fmla="*/ 515938 h 280"/>
                <a:gd name="T74" fmla="*/ 241512 w 120"/>
                <a:gd name="T75" fmla="*/ 442232 h 28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0"/>
                <a:gd name="T115" fmla="*/ 0 h 280"/>
                <a:gd name="T116" fmla="*/ 120 w 120"/>
                <a:gd name="T117" fmla="*/ 280 h 28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0" h="280">
                  <a:moveTo>
                    <a:pt x="112" y="240"/>
                  </a:moveTo>
                  <a:lnTo>
                    <a:pt x="104" y="208"/>
                  </a:lnTo>
                  <a:lnTo>
                    <a:pt x="88" y="200"/>
                  </a:lnTo>
                  <a:lnTo>
                    <a:pt x="96" y="176"/>
                  </a:lnTo>
                  <a:lnTo>
                    <a:pt x="80" y="144"/>
                  </a:lnTo>
                  <a:lnTo>
                    <a:pt x="80" y="128"/>
                  </a:lnTo>
                  <a:lnTo>
                    <a:pt x="104" y="112"/>
                  </a:lnTo>
                  <a:lnTo>
                    <a:pt x="120" y="96"/>
                  </a:lnTo>
                  <a:lnTo>
                    <a:pt x="104" y="96"/>
                  </a:lnTo>
                  <a:lnTo>
                    <a:pt x="88" y="88"/>
                  </a:lnTo>
                  <a:lnTo>
                    <a:pt x="88" y="72"/>
                  </a:lnTo>
                  <a:lnTo>
                    <a:pt x="80" y="72"/>
                  </a:lnTo>
                  <a:lnTo>
                    <a:pt x="80" y="56"/>
                  </a:lnTo>
                  <a:lnTo>
                    <a:pt x="64" y="64"/>
                  </a:lnTo>
                  <a:lnTo>
                    <a:pt x="72" y="16"/>
                  </a:lnTo>
                  <a:lnTo>
                    <a:pt x="64" y="0"/>
                  </a:lnTo>
                  <a:lnTo>
                    <a:pt x="48" y="0"/>
                  </a:lnTo>
                  <a:lnTo>
                    <a:pt x="48" y="8"/>
                  </a:lnTo>
                  <a:lnTo>
                    <a:pt x="40" y="8"/>
                  </a:lnTo>
                  <a:lnTo>
                    <a:pt x="24" y="24"/>
                  </a:lnTo>
                  <a:lnTo>
                    <a:pt x="16" y="64"/>
                  </a:lnTo>
                  <a:lnTo>
                    <a:pt x="8" y="64"/>
                  </a:lnTo>
                  <a:lnTo>
                    <a:pt x="8" y="88"/>
                  </a:lnTo>
                  <a:lnTo>
                    <a:pt x="0" y="88"/>
                  </a:lnTo>
                  <a:lnTo>
                    <a:pt x="0" y="104"/>
                  </a:lnTo>
                  <a:lnTo>
                    <a:pt x="16" y="120"/>
                  </a:lnTo>
                  <a:lnTo>
                    <a:pt x="24" y="136"/>
                  </a:lnTo>
                  <a:lnTo>
                    <a:pt x="32" y="136"/>
                  </a:lnTo>
                  <a:lnTo>
                    <a:pt x="40" y="160"/>
                  </a:lnTo>
                  <a:lnTo>
                    <a:pt x="32" y="176"/>
                  </a:lnTo>
                  <a:lnTo>
                    <a:pt x="56" y="184"/>
                  </a:lnTo>
                  <a:lnTo>
                    <a:pt x="72" y="168"/>
                  </a:lnTo>
                  <a:lnTo>
                    <a:pt x="80" y="176"/>
                  </a:lnTo>
                  <a:lnTo>
                    <a:pt x="104" y="232"/>
                  </a:lnTo>
                  <a:lnTo>
                    <a:pt x="96" y="240"/>
                  </a:lnTo>
                  <a:lnTo>
                    <a:pt x="104" y="256"/>
                  </a:lnTo>
                  <a:lnTo>
                    <a:pt x="96" y="280"/>
                  </a:lnTo>
                  <a:lnTo>
                    <a:pt x="112" y="2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54">
              <a:extLst>
                <a:ext uri="{FF2B5EF4-FFF2-40B4-BE49-F238E27FC236}">
                  <a16:creationId xmlns:a16="http://schemas.microsoft.com/office/drawing/2014/main" id="{6B28F87E-724C-42AC-9CA2-FCCFF12A0C63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9685951" y="3494763"/>
              <a:ext cx="282342" cy="535602"/>
            </a:xfrm>
            <a:custGeom>
              <a:avLst/>
              <a:gdLst>
                <a:gd name="T0" fmla="*/ 103310 w 104"/>
                <a:gd name="T1" fmla="*/ 383268 h 224"/>
                <a:gd name="T2" fmla="*/ 120528 w 104"/>
                <a:gd name="T3" fmla="*/ 398009 h 224"/>
                <a:gd name="T4" fmla="*/ 120528 w 104"/>
                <a:gd name="T5" fmla="*/ 412750 h 224"/>
                <a:gd name="T6" fmla="*/ 137746 w 104"/>
                <a:gd name="T7" fmla="*/ 412750 h 224"/>
                <a:gd name="T8" fmla="*/ 154965 w 104"/>
                <a:gd name="T9" fmla="*/ 398009 h 224"/>
                <a:gd name="T10" fmla="*/ 137746 w 104"/>
                <a:gd name="T11" fmla="*/ 383268 h 224"/>
                <a:gd name="T12" fmla="*/ 103310 w 104"/>
                <a:gd name="T13" fmla="*/ 368527 h 224"/>
                <a:gd name="T14" fmla="*/ 86092 w 104"/>
                <a:gd name="T15" fmla="*/ 309563 h 224"/>
                <a:gd name="T16" fmla="*/ 68873 w 104"/>
                <a:gd name="T17" fmla="*/ 309563 h 224"/>
                <a:gd name="T18" fmla="*/ 68873 w 104"/>
                <a:gd name="T19" fmla="*/ 280080 h 224"/>
                <a:gd name="T20" fmla="*/ 86092 w 104"/>
                <a:gd name="T21" fmla="*/ 235857 h 224"/>
                <a:gd name="T22" fmla="*/ 68873 w 104"/>
                <a:gd name="T23" fmla="*/ 206375 h 224"/>
                <a:gd name="T24" fmla="*/ 103310 w 104"/>
                <a:gd name="T25" fmla="*/ 206375 h 224"/>
                <a:gd name="T26" fmla="*/ 103310 w 104"/>
                <a:gd name="T27" fmla="*/ 221116 h 224"/>
                <a:gd name="T28" fmla="*/ 137746 w 104"/>
                <a:gd name="T29" fmla="*/ 221116 h 224"/>
                <a:gd name="T30" fmla="*/ 154965 w 104"/>
                <a:gd name="T31" fmla="*/ 235857 h 224"/>
                <a:gd name="T32" fmla="*/ 137746 w 104"/>
                <a:gd name="T33" fmla="*/ 206375 h 224"/>
                <a:gd name="T34" fmla="*/ 154965 w 104"/>
                <a:gd name="T35" fmla="*/ 176893 h 224"/>
                <a:gd name="T36" fmla="*/ 223838 w 104"/>
                <a:gd name="T37" fmla="*/ 176893 h 224"/>
                <a:gd name="T38" fmla="*/ 223838 w 104"/>
                <a:gd name="T39" fmla="*/ 147411 h 224"/>
                <a:gd name="T40" fmla="*/ 206620 w 104"/>
                <a:gd name="T41" fmla="*/ 117929 h 224"/>
                <a:gd name="T42" fmla="*/ 189401 w 104"/>
                <a:gd name="T43" fmla="*/ 88446 h 224"/>
                <a:gd name="T44" fmla="*/ 154965 w 104"/>
                <a:gd name="T45" fmla="*/ 58964 h 224"/>
                <a:gd name="T46" fmla="*/ 137746 w 104"/>
                <a:gd name="T47" fmla="*/ 73705 h 224"/>
                <a:gd name="T48" fmla="*/ 120528 w 104"/>
                <a:gd name="T49" fmla="*/ 58964 h 224"/>
                <a:gd name="T50" fmla="*/ 86092 w 104"/>
                <a:gd name="T51" fmla="*/ 73705 h 224"/>
                <a:gd name="T52" fmla="*/ 86092 w 104"/>
                <a:gd name="T53" fmla="*/ 29482 h 224"/>
                <a:gd name="T54" fmla="*/ 68873 w 104"/>
                <a:gd name="T55" fmla="*/ 14741 h 224"/>
                <a:gd name="T56" fmla="*/ 51655 w 104"/>
                <a:gd name="T57" fmla="*/ 0 h 224"/>
                <a:gd name="T58" fmla="*/ 0 w 104"/>
                <a:gd name="T59" fmla="*/ 29482 h 224"/>
                <a:gd name="T60" fmla="*/ 0 w 104"/>
                <a:gd name="T61" fmla="*/ 58964 h 224"/>
                <a:gd name="T62" fmla="*/ 34437 w 104"/>
                <a:gd name="T63" fmla="*/ 117929 h 224"/>
                <a:gd name="T64" fmla="*/ 17218 w 104"/>
                <a:gd name="T65" fmla="*/ 162152 h 224"/>
                <a:gd name="T66" fmla="*/ 51655 w 104"/>
                <a:gd name="T67" fmla="*/ 176893 h 224"/>
                <a:gd name="T68" fmla="*/ 68873 w 104"/>
                <a:gd name="T69" fmla="*/ 235857 h 224"/>
                <a:gd name="T70" fmla="*/ 34437 w 104"/>
                <a:gd name="T71" fmla="*/ 309563 h 224"/>
                <a:gd name="T72" fmla="*/ 34437 w 104"/>
                <a:gd name="T73" fmla="*/ 324304 h 224"/>
                <a:gd name="T74" fmla="*/ 51655 w 104"/>
                <a:gd name="T75" fmla="*/ 353786 h 224"/>
                <a:gd name="T76" fmla="*/ 51655 w 104"/>
                <a:gd name="T77" fmla="*/ 339045 h 224"/>
                <a:gd name="T78" fmla="*/ 103310 w 104"/>
                <a:gd name="T79" fmla="*/ 398009 h 224"/>
                <a:gd name="T80" fmla="*/ 103310 w 104"/>
                <a:gd name="T81" fmla="*/ 383268 h 22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4"/>
                <a:gd name="T124" fmla="*/ 0 h 224"/>
                <a:gd name="T125" fmla="*/ 104 w 104"/>
                <a:gd name="T126" fmla="*/ 224 h 22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4" h="224">
                  <a:moveTo>
                    <a:pt x="48" y="208"/>
                  </a:moveTo>
                  <a:lnTo>
                    <a:pt x="56" y="216"/>
                  </a:lnTo>
                  <a:lnTo>
                    <a:pt x="56" y="224"/>
                  </a:lnTo>
                  <a:lnTo>
                    <a:pt x="64" y="224"/>
                  </a:lnTo>
                  <a:lnTo>
                    <a:pt x="72" y="216"/>
                  </a:lnTo>
                  <a:lnTo>
                    <a:pt x="64" y="208"/>
                  </a:lnTo>
                  <a:lnTo>
                    <a:pt x="48" y="200"/>
                  </a:lnTo>
                  <a:lnTo>
                    <a:pt x="40" y="168"/>
                  </a:lnTo>
                  <a:lnTo>
                    <a:pt x="32" y="168"/>
                  </a:lnTo>
                  <a:lnTo>
                    <a:pt x="32" y="152"/>
                  </a:lnTo>
                  <a:lnTo>
                    <a:pt x="40" y="128"/>
                  </a:lnTo>
                  <a:lnTo>
                    <a:pt x="32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64" y="120"/>
                  </a:lnTo>
                  <a:lnTo>
                    <a:pt x="72" y="128"/>
                  </a:lnTo>
                  <a:lnTo>
                    <a:pt x="64" y="112"/>
                  </a:lnTo>
                  <a:lnTo>
                    <a:pt x="72" y="96"/>
                  </a:lnTo>
                  <a:lnTo>
                    <a:pt x="104" y="96"/>
                  </a:lnTo>
                  <a:lnTo>
                    <a:pt x="104" y="80"/>
                  </a:lnTo>
                  <a:lnTo>
                    <a:pt x="96" y="64"/>
                  </a:lnTo>
                  <a:lnTo>
                    <a:pt x="88" y="48"/>
                  </a:lnTo>
                  <a:lnTo>
                    <a:pt x="72" y="32"/>
                  </a:lnTo>
                  <a:lnTo>
                    <a:pt x="64" y="40"/>
                  </a:lnTo>
                  <a:lnTo>
                    <a:pt x="56" y="32"/>
                  </a:lnTo>
                  <a:lnTo>
                    <a:pt x="40" y="40"/>
                  </a:lnTo>
                  <a:lnTo>
                    <a:pt x="40" y="16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6" y="64"/>
                  </a:lnTo>
                  <a:lnTo>
                    <a:pt x="8" y="88"/>
                  </a:lnTo>
                  <a:lnTo>
                    <a:pt x="24" y="96"/>
                  </a:lnTo>
                  <a:lnTo>
                    <a:pt x="32" y="128"/>
                  </a:lnTo>
                  <a:lnTo>
                    <a:pt x="16" y="168"/>
                  </a:lnTo>
                  <a:lnTo>
                    <a:pt x="16" y="176"/>
                  </a:lnTo>
                  <a:lnTo>
                    <a:pt x="24" y="192"/>
                  </a:lnTo>
                  <a:lnTo>
                    <a:pt x="24" y="184"/>
                  </a:lnTo>
                  <a:lnTo>
                    <a:pt x="48" y="216"/>
                  </a:lnTo>
                  <a:lnTo>
                    <a:pt x="48" y="20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55">
              <a:extLst>
                <a:ext uri="{FF2B5EF4-FFF2-40B4-BE49-F238E27FC236}">
                  <a16:creationId xmlns:a16="http://schemas.microsoft.com/office/drawing/2014/main" id="{C9C944C3-F8C5-444B-A438-5C03BD34CDDC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9816109" y="3993284"/>
              <a:ext cx="152184" cy="191581"/>
            </a:xfrm>
            <a:custGeom>
              <a:avLst/>
              <a:gdLst>
                <a:gd name="T0" fmla="*/ 0 w 56"/>
                <a:gd name="T1" fmla="*/ 14764 h 80"/>
                <a:gd name="T2" fmla="*/ 0 w 56"/>
                <a:gd name="T3" fmla="*/ 0 h 80"/>
                <a:gd name="T4" fmla="*/ 17236 w 56"/>
                <a:gd name="T5" fmla="*/ 14764 h 80"/>
                <a:gd name="T6" fmla="*/ 17236 w 56"/>
                <a:gd name="T7" fmla="*/ 29528 h 80"/>
                <a:gd name="T8" fmla="*/ 34471 w 56"/>
                <a:gd name="T9" fmla="*/ 29528 h 80"/>
                <a:gd name="T10" fmla="*/ 51707 w 56"/>
                <a:gd name="T11" fmla="*/ 14764 h 80"/>
                <a:gd name="T12" fmla="*/ 86179 w 56"/>
                <a:gd name="T13" fmla="*/ 59055 h 80"/>
                <a:gd name="T14" fmla="*/ 86179 w 56"/>
                <a:gd name="T15" fmla="*/ 103347 h 80"/>
                <a:gd name="T16" fmla="*/ 120650 w 56"/>
                <a:gd name="T17" fmla="*/ 147638 h 80"/>
                <a:gd name="T18" fmla="*/ 86179 w 56"/>
                <a:gd name="T19" fmla="*/ 147638 h 80"/>
                <a:gd name="T20" fmla="*/ 34471 w 56"/>
                <a:gd name="T21" fmla="*/ 103347 h 80"/>
                <a:gd name="T22" fmla="*/ 0 w 56"/>
                <a:gd name="T23" fmla="*/ 73819 h 80"/>
                <a:gd name="T24" fmla="*/ 0 w 56"/>
                <a:gd name="T25" fmla="*/ 14764 h 8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6"/>
                <a:gd name="T40" fmla="*/ 0 h 80"/>
                <a:gd name="T41" fmla="*/ 56 w 56"/>
                <a:gd name="T42" fmla="*/ 80 h 8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6" h="80">
                  <a:moveTo>
                    <a:pt x="0" y="8"/>
                  </a:moveTo>
                  <a:lnTo>
                    <a:pt x="0" y="0"/>
                  </a:lnTo>
                  <a:lnTo>
                    <a:pt x="8" y="8"/>
                  </a:lnTo>
                  <a:lnTo>
                    <a:pt x="8" y="16"/>
                  </a:lnTo>
                  <a:lnTo>
                    <a:pt x="16" y="16"/>
                  </a:lnTo>
                  <a:lnTo>
                    <a:pt x="24" y="8"/>
                  </a:lnTo>
                  <a:lnTo>
                    <a:pt x="40" y="32"/>
                  </a:lnTo>
                  <a:lnTo>
                    <a:pt x="40" y="56"/>
                  </a:lnTo>
                  <a:lnTo>
                    <a:pt x="56" y="80"/>
                  </a:lnTo>
                  <a:lnTo>
                    <a:pt x="40" y="80"/>
                  </a:lnTo>
                  <a:lnTo>
                    <a:pt x="16" y="56"/>
                  </a:lnTo>
                  <a:lnTo>
                    <a:pt x="0" y="4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56">
              <a:extLst>
                <a:ext uri="{FF2B5EF4-FFF2-40B4-BE49-F238E27FC236}">
                  <a16:creationId xmlns:a16="http://schemas.microsoft.com/office/drawing/2014/main" id="{DF4B84DC-2D13-498B-B95E-D7DFC31D9096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9816109" y="3400002"/>
              <a:ext cx="306371" cy="515002"/>
            </a:xfrm>
            <a:custGeom>
              <a:avLst/>
              <a:gdLst>
                <a:gd name="T0" fmla="*/ 0 w 112"/>
                <a:gd name="T1" fmla="*/ 14699 h 216"/>
                <a:gd name="T2" fmla="*/ 34698 w 112"/>
                <a:gd name="T3" fmla="*/ 58796 h 216"/>
                <a:gd name="T4" fmla="*/ 69397 w 112"/>
                <a:gd name="T5" fmla="*/ 73495 h 216"/>
                <a:gd name="T6" fmla="*/ 86746 w 112"/>
                <a:gd name="T7" fmla="*/ 88194 h 216"/>
                <a:gd name="T8" fmla="*/ 69397 w 112"/>
                <a:gd name="T9" fmla="*/ 102894 h 216"/>
                <a:gd name="T10" fmla="*/ 138793 w 112"/>
                <a:gd name="T11" fmla="*/ 161690 h 216"/>
                <a:gd name="T12" fmla="*/ 138793 w 112"/>
                <a:gd name="T13" fmla="*/ 176389 h 216"/>
                <a:gd name="T14" fmla="*/ 173491 w 112"/>
                <a:gd name="T15" fmla="*/ 205787 h 216"/>
                <a:gd name="T16" fmla="*/ 190841 w 112"/>
                <a:gd name="T17" fmla="*/ 235185 h 216"/>
                <a:gd name="T18" fmla="*/ 190841 w 112"/>
                <a:gd name="T19" fmla="*/ 293982 h 216"/>
                <a:gd name="T20" fmla="*/ 156142 w 112"/>
                <a:gd name="T21" fmla="*/ 323380 h 216"/>
                <a:gd name="T22" fmla="*/ 138793 w 112"/>
                <a:gd name="T23" fmla="*/ 338079 h 216"/>
                <a:gd name="T24" fmla="*/ 104095 w 112"/>
                <a:gd name="T25" fmla="*/ 352778 h 216"/>
                <a:gd name="T26" fmla="*/ 121444 w 112"/>
                <a:gd name="T27" fmla="*/ 367477 h 216"/>
                <a:gd name="T28" fmla="*/ 121444 w 112"/>
                <a:gd name="T29" fmla="*/ 396875 h 216"/>
                <a:gd name="T30" fmla="*/ 173491 w 112"/>
                <a:gd name="T31" fmla="*/ 382176 h 216"/>
                <a:gd name="T32" fmla="*/ 173491 w 112"/>
                <a:gd name="T33" fmla="*/ 352778 h 216"/>
                <a:gd name="T34" fmla="*/ 190841 w 112"/>
                <a:gd name="T35" fmla="*/ 352778 h 216"/>
                <a:gd name="T36" fmla="*/ 242888 w 112"/>
                <a:gd name="T37" fmla="*/ 323380 h 216"/>
                <a:gd name="T38" fmla="*/ 242888 w 112"/>
                <a:gd name="T39" fmla="*/ 264583 h 216"/>
                <a:gd name="T40" fmla="*/ 225539 w 112"/>
                <a:gd name="T41" fmla="*/ 220486 h 216"/>
                <a:gd name="T42" fmla="*/ 121444 w 112"/>
                <a:gd name="T43" fmla="*/ 132292 h 216"/>
                <a:gd name="T44" fmla="*/ 104095 w 112"/>
                <a:gd name="T45" fmla="*/ 117593 h 216"/>
                <a:gd name="T46" fmla="*/ 121444 w 112"/>
                <a:gd name="T47" fmla="*/ 88194 h 216"/>
                <a:gd name="T48" fmla="*/ 138793 w 112"/>
                <a:gd name="T49" fmla="*/ 58796 h 216"/>
                <a:gd name="T50" fmla="*/ 173491 w 112"/>
                <a:gd name="T51" fmla="*/ 44097 h 216"/>
                <a:gd name="T52" fmla="*/ 138793 w 112"/>
                <a:gd name="T53" fmla="*/ 29398 h 216"/>
                <a:gd name="T54" fmla="*/ 121444 w 112"/>
                <a:gd name="T55" fmla="*/ 14699 h 216"/>
                <a:gd name="T56" fmla="*/ 86746 w 112"/>
                <a:gd name="T57" fmla="*/ 0 h 216"/>
                <a:gd name="T58" fmla="*/ 17349 w 112"/>
                <a:gd name="T59" fmla="*/ 14699 h 216"/>
                <a:gd name="T60" fmla="*/ 0 w 112"/>
                <a:gd name="T61" fmla="*/ 14699 h 21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2"/>
                <a:gd name="T94" fmla="*/ 0 h 216"/>
                <a:gd name="T95" fmla="*/ 112 w 112"/>
                <a:gd name="T96" fmla="*/ 216 h 21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2" h="216">
                  <a:moveTo>
                    <a:pt x="0" y="8"/>
                  </a:moveTo>
                  <a:lnTo>
                    <a:pt x="16" y="32"/>
                  </a:lnTo>
                  <a:lnTo>
                    <a:pt x="32" y="40"/>
                  </a:lnTo>
                  <a:lnTo>
                    <a:pt x="40" y="48"/>
                  </a:lnTo>
                  <a:lnTo>
                    <a:pt x="32" y="56"/>
                  </a:lnTo>
                  <a:lnTo>
                    <a:pt x="64" y="88"/>
                  </a:lnTo>
                  <a:lnTo>
                    <a:pt x="64" y="96"/>
                  </a:lnTo>
                  <a:lnTo>
                    <a:pt x="80" y="112"/>
                  </a:lnTo>
                  <a:lnTo>
                    <a:pt x="88" y="128"/>
                  </a:lnTo>
                  <a:lnTo>
                    <a:pt x="88" y="160"/>
                  </a:lnTo>
                  <a:lnTo>
                    <a:pt x="72" y="176"/>
                  </a:lnTo>
                  <a:lnTo>
                    <a:pt x="64" y="184"/>
                  </a:lnTo>
                  <a:lnTo>
                    <a:pt x="48" y="192"/>
                  </a:lnTo>
                  <a:lnTo>
                    <a:pt x="56" y="200"/>
                  </a:lnTo>
                  <a:lnTo>
                    <a:pt x="56" y="216"/>
                  </a:lnTo>
                  <a:lnTo>
                    <a:pt x="80" y="208"/>
                  </a:lnTo>
                  <a:lnTo>
                    <a:pt x="80" y="192"/>
                  </a:lnTo>
                  <a:lnTo>
                    <a:pt x="88" y="192"/>
                  </a:lnTo>
                  <a:lnTo>
                    <a:pt x="112" y="176"/>
                  </a:lnTo>
                  <a:lnTo>
                    <a:pt x="112" y="144"/>
                  </a:lnTo>
                  <a:lnTo>
                    <a:pt x="104" y="120"/>
                  </a:lnTo>
                  <a:lnTo>
                    <a:pt x="56" y="72"/>
                  </a:lnTo>
                  <a:lnTo>
                    <a:pt x="48" y="64"/>
                  </a:lnTo>
                  <a:lnTo>
                    <a:pt x="56" y="48"/>
                  </a:lnTo>
                  <a:lnTo>
                    <a:pt x="64" y="32"/>
                  </a:lnTo>
                  <a:lnTo>
                    <a:pt x="80" y="24"/>
                  </a:lnTo>
                  <a:lnTo>
                    <a:pt x="64" y="16"/>
                  </a:lnTo>
                  <a:lnTo>
                    <a:pt x="56" y="8"/>
                  </a:lnTo>
                  <a:lnTo>
                    <a:pt x="40" y="0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57">
              <a:extLst>
                <a:ext uri="{FF2B5EF4-FFF2-40B4-BE49-F238E27FC236}">
                  <a16:creationId xmlns:a16="http://schemas.microsoft.com/office/drawing/2014/main" id="{18A4E398-3F6B-4C89-88F8-28B1B8DFCEE3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9860162" y="3704883"/>
              <a:ext cx="196237" cy="154501"/>
            </a:xfrm>
            <a:custGeom>
              <a:avLst/>
              <a:gdLst>
                <a:gd name="T0" fmla="*/ 0 w 72"/>
                <a:gd name="T1" fmla="*/ 44649 h 64"/>
                <a:gd name="T2" fmla="*/ 17286 w 72"/>
                <a:gd name="T3" fmla="*/ 14883 h 64"/>
                <a:gd name="T4" fmla="*/ 86431 w 72"/>
                <a:gd name="T5" fmla="*/ 14883 h 64"/>
                <a:gd name="T6" fmla="*/ 103717 w 72"/>
                <a:gd name="T7" fmla="*/ 14883 h 64"/>
                <a:gd name="T8" fmla="*/ 121003 w 72"/>
                <a:gd name="T9" fmla="*/ 14883 h 64"/>
                <a:gd name="T10" fmla="*/ 155575 w 72"/>
                <a:gd name="T11" fmla="*/ 0 h 64"/>
                <a:gd name="T12" fmla="*/ 155575 w 72"/>
                <a:gd name="T13" fmla="*/ 59532 h 64"/>
                <a:gd name="T14" fmla="*/ 121003 w 72"/>
                <a:gd name="T15" fmla="*/ 89297 h 64"/>
                <a:gd name="T16" fmla="*/ 103717 w 72"/>
                <a:gd name="T17" fmla="*/ 104180 h 64"/>
                <a:gd name="T18" fmla="*/ 69144 w 72"/>
                <a:gd name="T19" fmla="*/ 119063 h 64"/>
                <a:gd name="T20" fmla="*/ 34572 w 72"/>
                <a:gd name="T21" fmla="*/ 104180 h 64"/>
                <a:gd name="T22" fmla="*/ 17286 w 72"/>
                <a:gd name="T23" fmla="*/ 74414 h 64"/>
                <a:gd name="T24" fmla="*/ 0 w 72"/>
                <a:gd name="T25" fmla="*/ 44649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2"/>
                <a:gd name="T40" fmla="*/ 0 h 64"/>
                <a:gd name="T41" fmla="*/ 72 w 72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2" h="64">
                  <a:moveTo>
                    <a:pt x="0" y="24"/>
                  </a:moveTo>
                  <a:lnTo>
                    <a:pt x="8" y="8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72" y="0"/>
                  </a:lnTo>
                  <a:lnTo>
                    <a:pt x="72" y="32"/>
                  </a:lnTo>
                  <a:lnTo>
                    <a:pt x="56" y="48"/>
                  </a:lnTo>
                  <a:lnTo>
                    <a:pt x="48" y="56"/>
                  </a:lnTo>
                  <a:lnTo>
                    <a:pt x="32" y="64"/>
                  </a:lnTo>
                  <a:lnTo>
                    <a:pt x="16" y="56"/>
                  </a:lnTo>
                  <a:lnTo>
                    <a:pt x="8" y="4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58">
              <a:extLst>
                <a:ext uri="{FF2B5EF4-FFF2-40B4-BE49-F238E27FC236}">
                  <a16:creationId xmlns:a16="http://schemas.microsoft.com/office/drawing/2014/main" id="{932BE419-36B6-464F-9C82-DBE19D2EAAA0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9750028" y="3418542"/>
              <a:ext cx="306371" cy="306942"/>
            </a:xfrm>
            <a:custGeom>
              <a:avLst/>
              <a:gdLst>
                <a:gd name="T0" fmla="*/ 242888 w 112"/>
                <a:gd name="T1" fmla="*/ 221754 h 128"/>
                <a:gd name="T2" fmla="*/ 225539 w 112"/>
                <a:gd name="T3" fmla="*/ 192187 h 128"/>
                <a:gd name="T4" fmla="*/ 190841 w 112"/>
                <a:gd name="T5" fmla="*/ 162620 h 128"/>
                <a:gd name="T6" fmla="*/ 190841 w 112"/>
                <a:gd name="T7" fmla="*/ 147836 h 128"/>
                <a:gd name="T8" fmla="*/ 121444 w 112"/>
                <a:gd name="T9" fmla="*/ 88702 h 128"/>
                <a:gd name="T10" fmla="*/ 138793 w 112"/>
                <a:gd name="T11" fmla="*/ 73918 h 128"/>
                <a:gd name="T12" fmla="*/ 121444 w 112"/>
                <a:gd name="T13" fmla="*/ 59135 h 128"/>
                <a:gd name="T14" fmla="*/ 86746 w 112"/>
                <a:gd name="T15" fmla="*/ 44351 h 128"/>
                <a:gd name="T16" fmla="*/ 52047 w 112"/>
                <a:gd name="T17" fmla="*/ 0 h 128"/>
                <a:gd name="T18" fmla="*/ 34698 w 112"/>
                <a:gd name="T19" fmla="*/ 0 h 128"/>
                <a:gd name="T20" fmla="*/ 34698 w 112"/>
                <a:gd name="T21" fmla="*/ 29567 h 128"/>
                <a:gd name="T22" fmla="*/ 34698 w 112"/>
                <a:gd name="T23" fmla="*/ 44351 h 128"/>
                <a:gd name="T24" fmla="*/ 34698 w 112"/>
                <a:gd name="T25" fmla="*/ 29567 h 128"/>
                <a:gd name="T26" fmla="*/ 0 w 112"/>
                <a:gd name="T27" fmla="*/ 59135 h 128"/>
                <a:gd name="T28" fmla="*/ 17349 w 112"/>
                <a:gd name="T29" fmla="*/ 73918 h 128"/>
                <a:gd name="T30" fmla="*/ 34698 w 112"/>
                <a:gd name="T31" fmla="*/ 88702 h 128"/>
                <a:gd name="T32" fmla="*/ 34698 w 112"/>
                <a:gd name="T33" fmla="*/ 133053 h 128"/>
                <a:gd name="T34" fmla="*/ 69397 w 112"/>
                <a:gd name="T35" fmla="*/ 118269 h 128"/>
                <a:gd name="T36" fmla="*/ 86746 w 112"/>
                <a:gd name="T37" fmla="*/ 133053 h 128"/>
                <a:gd name="T38" fmla="*/ 104095 w 112"/>
                <a:gd name="T39" fmla="*/ 118269 h 128"/>
                <a:gd name="T40" fmla="*/ 138793 w 112"/>
                <a:gd name="T41" fmla="*/ 147836 h 128"/>
                <a:gd name="T42" fmla="*/ 156142 w 112"/>
                <a:gd name="T43" fmla="*/ 177403 h 128"/>
                <a:gd name="T44" fmla="*/ 173491 w 112"/>
                <a:gd name="T45" fmla="*/ 206971 h 128"/>
                <a:gd name="T46" fmla="*/ 173491 w 112"/>
                <a:gd name="T47" fmla="*/ 236538 h 128"/>
                <a:gd name="T48" fmla="*/ 190841 w 112"/>
                <a:gd name="T49" fmla="*/ 236538 h 128"/>
                <a:gd name="T50" fmla="*/ 208190 w 112"/>
                <a:gd name="T51" fmla="*/ 236538 h 128"/>
                <a:gd name="T52" fmla="*/ 242888 w 112"/>
                <a:gd name="T53" fmla="*/ 221754 h 12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12"/>
                <a:gd name="T82" fmla="*/ 0 h 128"/>
                <a:gd name="T83" fmla="*/ 112 w 112"/>
                <a:gd name="T84" fmla="*/ 128 h 12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12" h="128">
                  <a:moveTo>
                    <a:pt x="112" y="120"/>
                  </a:moveTo>
                  <a:lnTo>
                    <a:pt x="104" y="104"/>
                  </a:lnTo>
                  <a:lnTo>
                    <a:pt x="88" y="88"/>
                  </a:lnTo>
                  <a:lnTo>
                    <a:pt x="88" y="80"/>
                  </a:lnTo>
                  <a:lnTo>
                    <a:pt x="56" y="48"/>
                  </a:lnTo>
                  <a:lnTo>
                    <a:pt x="64" y="40"/>
                  </a:lnTo>
                  <a:lnTo>
                    <a:pt x="56" y="32"/>
                  </a:lnTo>
                  <a:lnTo>
                    <a:pt x="40" y="24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0" y="32"/>
                  </a:lnTo>
                  <a:lnTo>
                    <a:pt x="8" y="40"/>
                  </a:lnTo>
                  <a:lnTo>
                    <a:pt x="16" y="48"/>
                  </a:lnTo>
                  <a:lnTo>
                    <a:pt x="16" y="72"/>
                  </a:lnTo>
                  <a:lnTo>
                    <a:pt x="32" y="64"/>
                  </a:lnTo>
                  <a:lnTo>
                    <a:pt x="40" y="72"/>
                  </a:lnTo>
                  <a:lnTo>
                    <a:pt x="48" y="64"/>
                  </a:lnTo>
                  <a:lnTo>
                    <a:pt x="64" y="80"/>
                  </a:lnTo>
                  <a:lnTo>
                    <a:pt x="72" y="96"/>
                  </a:lnTo>
                  <a:lnTo>
                    <a:pt x="80" y="112"/>
                  </a:lnTo>
                  <a:lnTo>
                    <a:pt x="80" y="128"/>
                  </a:lnTo>
                  <a:lnTo>
                    <a:pt x="88" y="128"/>
                  </a:lnTo>
                  <a:lnTo>
                    <a:pt x="96" y="128"/>
                  </a:lnTo>
                  <a:lnTo>
                    <a:pt x="112" y="1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59">
              <a:extLst>
                <a:ext uri="{FF2B5EF4-FFF2-40B4-BE49-F238E27FC236}">
                  <a16:creationId xmlns:a16="http://schemas.microsoft.com/office/drawing/2014/main" id="{E78F5B63-C02E-4AFB-A7BF-5F85935DC580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8682739" y="2308199"/>
              <a:ext cx="1874265" cy="1186564"/>
            </a:xfrm>
            <a:custGeom>
              <a:avLst/>
              <a:gdLst>
                <a:gd name="T0" fmla="*/ 293724 w 688"/>
                <a:gd name="T1" fmla="*/ 147484 h 496"/>
                <a:gd name="T2" fmla="*/ 380114 w 688"/>
                <a:gd name="T3" fmla="*/ 221226 h 496"/>
                <a:gd name="T4" fmla="*/ 673838 w 688"/>
                <a:gd name="T5" fmla="*/ 294968 h 496"/>
                <a:gd name="T6" fmla="*/ 915729 w 688"/>
                <a:gd name="T7" fmla="*/ 294968 h 496"/>
                <a:gd name="T8" fmla="*/ 950285 w 688"/>
                <a:gd name="T9" fmla="*/ 235974 h 496"/>
                <a:gd name="T10" fmla="*/ 1019396 w 688"/>
                <a:gd name="T11" fmla="*/ 206477 h 496"/>
                <a:gd name="T12" fmla="*/ 1071230 w 688"/>
                <a:gd name="T13" fmla="*/ 162232 h 496"/>
                <a:gd name="T14" fmla="*/ 984841 w 688"/>
                <a:gd name="T15" fmla="*/ 162232 h 496"/>
                <a:gd name="T16" fmla="*/ 1002119 w 688"/>
                <a:gd name="T17" fmla="*/ 103239 h 496"/>
                <a:gd name="T18" fmla="*/ 1036674 w 688"/>
                <a:gd name="T19" fmla="*/ 44245 h 496"/>
                <a:gd name="T20" fmla="*/ 1071230 w 688"/>
                <a:gd name="T21" fmla="*/ 0 h 496"/>
                <a:gd name="T22" fmla="*/ 1244009 w 688"/>
                <a:gd name="T23" fmla="*/ 103239 h 496"/>
                <a:gd name="T24" fmla="*/ 1382233 w 688"/>
                <a:gd name="T25" fmla="*/ 162232 h 496"/>
                <a:gd name="T26" fmla="*/ 1468622 w 688"/>
                <a:gd name="T27" fmla="*/ 162232 h 496"/>
                <a:gd name="T28" fmla="*/ 1451344 w 688"/>
                <a:gd name="T29" fmla="*/ 221226 h 496"/>
                <a:gd name="T30" fmla="*/ 1468622 w 688"/>
                <a:gd name="T31" fmla="*/ 294968 h 496"/>
                <a:gd name="T32" fmla="*/ 1416788 w 688"/>
                <a:gd name="T33" fmla="*/ 324465 h 496"/>
                <a:gd name="T34" fmla="*/ 1330399 w 688"/>
                <a:gd name="T35" fmla="*/ 383458 h 496"/>
                <a:gd name="T36" fmla="*/ 1278565 w 688"/>
                <a:gd name="T37" fmla="*/ 398206 h 496"/>
                <a:gd name="T38" fmla="*/ 1261287 w 688"/>
                <a:gd name="T39" fmla="*/ 353961 h 496"/>
                <a:gd name="T40" fmla="*/ 1209454 w 688"/>
                <a:gd name="T41" fmla="*/ 383458 h 496"/>
                <a:gd name="T42" fmla="*/ 1174898 w 688"/>
                <a:gd name="T43" fmla="*/ 412955 h 496"/>
                <a:gd name="T44" fmla="*/ 1278565 w 688"/>
                <a:gd name="T45" fmla="*/ 427703 h 496"/>
                <a:gd name="T46" fmla="*/ 1313121 w 688"/>
                <a:gd name="T47" fmla="*/ 457200 h 496"/>
                <a:gd name="T48" fmla="*/ 1313121 w 688"/>
                <a:gd name="T49" fmla="*/ 530942 h 496"/>
                <a:gd name="T50" fmla="*/ 1364955 w 688"/>
                <a:gd name="T51" fmla="*/ 604684 h 496"/>
                <a:gd name="T52" fmla="*/ 1399510 w 688"/>
                <a:gd name="T53" fmla="*/ 648929 h 496"/>
                <a:gd name="T54" fmla="*/ 1364955 w 688"/>
                <a:gd name="T55" fmla="*/ 737419 h 496"/>
                <a:gd name="T56" fmla="*/ 1330399 w 688"/>
                <a:gd name="T57" fmla="*/ 796413 h 496"/>
                <a:gd name="T58" fmla="*/ 1244009 w 688"/>
                <a:gd name="T59" fmla="*/ 855406 h 496"/>
                <a:gd name="T60" fmla="*/ 1226731 w 688"/>
                <a:gd name="T61" fmla="*/ 870155 h 496"/>
                <a:gd name="T62" fmla="*/ 1140342 w 688"/>
                <a:gd name="T63" fmla="*/ 899652 h 496"/>
                <a:gd name="T64" fmla="*/ 1123064 w 688"/>
                <a:gd name="T65" fmla="*/ 884903 h 496"/>
                <a:gd name="T66" fmla="*/ 1019396 w 688"/>
                <a:gd name="T67" fmla="*/ 855406 h 496"/>
                <a:gd name="T68" fmla="*/ 898451 w 688"/>
                <a:gd name="T69" fmla="*/ 855406 h 496"/>
                <a:gd name="T70" fmla="*/ 881173 w 688"/>
                <a:gd name="T71" fmla="*/ 899652 h 496"/>
                <a:gd name="T72" fmla="*/ 812062 w 688"/>
                <a:gd name="T73" fmla="*/ 870155 h 496"/>
                <a:gd name="T74" fmla="*/ 794784 w 688"/>
                <a:gd name="T75" fmla="*/ 811161 h 496"/>
                <a:gd name="T76" fmla="*/ 760228 w 688"/>
                <a:gd name="T77" fmla="*/ 707923 h 496"/>
                <a:gd name="T78" fmla="*/ 639283 w 688"/>
                <a:gd name="T79" fmla="*/ 663677 h 496"/>
                <a:gd name="T80" fmla="*/ 518337 w 688"/>
                <a:gd name="T81" fmla="*/ 693174 h 496"/>
                <a:gd name="T82" fmla="*/ 466503 w 688"/>
                <a:gd name="T83" fmla="*/ 707923 h 496"/>
                <a:gd name="T84" fmla="*/ 328280 w 688"/>
                <a:gd name="T85" fmla="*/ 678426 h 496"/>
                <a:gd name="T86" fmla="*/ 207335 w 688"/>
                <a:gd name="T87" fmla="*/ 619432 h 496"/>
                <a:gd name="T88" fmla="*/ 207335 w 688"/>
                <a:gd name="T89" fmla="*/ 575187 h 496"/>
                <a:gd name="T90" fmla="*/ 207335 w 688"/>
                <a:gd name="T91" fmla="*/ 501445 h 496"/>
                <a:gd name="T92" fmla="*/ 86390 w 688"/>
                <a:gd name="T93" fmla="*/ 486697 h 496"/>
                <a:gd name="T94" fmla="*/ 34556 w 688"/>
                <a:gd name="T95" fmla="*/ 442452 h 496"/>
                <a:gd name="T96" fmla="*/ 0 w 688"/>
                <a:gd name="T97" fmla="*/ 398206 h 496"/>
                <a:gd name="T98" fmla="*/ 17278 w 688"/>
                <a:gd name="T99" fmla="*/ 353961 h 496"/>
                <a:gd name="T100" fmla="*/ 103667 w 688"/>
                <a:gd name="T101" fmla="*/ 339213 h 496"/>
                <a:gd name="T102" fmla="*/ 138223 w 688"/>
                <a:gd name="T103" fmla="*/ 280219 h 496"/>
                <a:gd name="T104" fmla="*/ 155501 w 688"/>
                <a:gd name="T105" fmla="*/ 176981 h 496"/>
                <a:gd name="T106" fmla="*/ 224613 w 688"/>
                <a:gd name="T107" fmla="*/ 147484 h 49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88"/>
                <a:gd name="T163" fmla="*/ 0 h 496"/>
                <a:gd name="T164" fmla="*/ 688 w 688"/>
                <a:gd name="T165" fmla="*/ 496 h 49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88" h="496">
                  <a:moveTo>
                    <a:pt x="112" y="72"/>
                  </a:moveTo>
                  <a:lnTo>
                    <a:pt x="120" y="64"/>
                  </a:lnTo>
                  <a:lnTo>
                    <a:pt x="136" y="80"/>
                  </a:lnTo>
                  <a:lnTo>
                    <a:pt x="152" y="88"/>
                  </a:lnTo>
                  <a:lnTo>
                    <a:pt x="168" y="96"/>
                  </a:lnTo>
                  <a:lnTo>
                    <a:pt x="176" y="120"/>
                  </a:lnTo>
                  <a:lnTo>
                    <a:pt x="232" y="136"/>
                  </a:lnTo>
                  <a:lnTo>
                    <a:pt x="264" y="160"/>
                  </a:lnTo>
                  <a:lnTo>
                    <a:pt x="312" y="160"/>
                  </a:lnTo>
                  <a:lnTo>
                    <a:pt x="368" y="176"/>
                  </a:lnTo>
                  <a:lnTo>
                    <a:pt x="400" y="168"/>
                  </a:lnTo>
                  <a:lnTo>
                    <a:pt x="424" y="160"/>
                  </a:lnTo>
                  <a:lnTo>
                    <a:pt x="440" y="144"/>
                  </a:lnTo>
                  <a:lnTo>
                    <a:pt x="432" y="136"/>
                  </a:lnTo>
                  <a:lnTo>
                    <a:pt x="440" y="128"/>
                  </a:lnTo>
                  <a:lnTo>
                    <a:pt x="456" y="128"/>
                  </a:lnTo>
                  <a:lnTo>
                    <a:pt x="464" y="120"/>
                  </a:lnTo>
                  <a:lnTo>
                    <a:pt x="472" y="112"/>
                  </a:lnTo>
                  <a:lnTo>
                    <a:pt x="480" y="104"/>
                  </a:lnTo>
                  <a:lnTo>
                    <a:pt x="504" y="104"/>
                  </a:lnTo>
                  <a:lnTo>
                    <a:pt x="496" y="88"/>
                  </a:lnTo>
                  <a:lnTo>
                    <a:pt x="488" y="80"/>
                  </a:lnTo>
                  <a:lnTo>
                    <a:pt x="472" y="88"/>
                  </a:lnTo>
                  <a:lnTo>
                    <a:pt x="456" y="88"/>
                  </a:lnTo>
                  <a:lnTo>
                    <a:pt x="440" y="64"/>
                  </a:lnTo>
                  <a:lnTo>
                    <a:pt x="448" y="56"/>
                  </a:lnTo>
                  <a:lnTo>
                    <a:pt x="464" y="56"/>
                  </a:lnTo>
                  <a:lnTo>
                    <a:pt x="480" y="48"/>
                  </a:lnTo>
                  <a:lnTo>
                    <a:pt x="472" y="32"/>
                  </a:lnTo>
                  <a:lnTo>
                    <a:pt x="480" y="24"/>
                  </a:lnTo>
                  <a:lnTo>
                    <a:pt x="464" y="16"/>
                  </a:lnTo>
                  <a:lnTo>
                    <a:pt x="472" y="8"/>
                  </a:lnTo>
                  <a:lnTo>
                    <a:pt x="496" y="0"/>
                  </a:lnTo>
                  <a:lnTo>
                    <a:pt x="528" y="8"/>
                  </a:lnTo>
                  <a:lnTo>
                    <a:pt x="560" y="40"/>
                  </a:lnTo>
                  <a:lnTo>
                    <a:pt x="576" y="56"/>
                  </a:lnTo>
                  <a:lnTo>
                    <a:pt x="600" y="64"/>
                  </a:lnTo>
                  <a:lnTo>
                    <a:pt x="624" y="72"/>
                  </a:lnTo>
                  <a:lnTo>
                    <a:pt x="640" y="88"/>
                  </a:lnTo>
                  <a:lnTo>
                    <a:pt x="648" y="88"/>
                  </a:lnTo>
                  <a:lnTo>
                    <a:pt x="672" y="72"/>
                  </a:lnTo>
                  <a:lnTo>
                    <a:pt x="680" y="88"/>
                  </a:lnTo>
                  <a:lnTo>
                    <a:pt x="680" y="96"/>
                  </a:lnTo>
                  <a:lnTo>
                    <a:pt x="688" y="128"/>
                  </a:lnTo>
                  <a:lnTo>
                    <a:pt x="672" y="120"/>
                  </a:lnTo>
                  <a:lnTo>
                    <a:pt x="664" y="128"/>
                  </a:lnTo>
                  <a:lnTo>
                    <a:pt x="680" y="152"/>
                  </a:lnTo>
                  <a:lnTo>
                    <a:pt x="680" y="160"/>
                  </a:lnTo>
                  <a:lnTo>
                    <a:pt x="664" y="160"/>
                  </a:lnTo>
                  <a:lnTo>
                    <a:pt x="664" y="168"/>
                  </a:lnTo>
                  <a:lnTo>
                    <a:pt x="656" y="176"/>
                  </a:lnTo>
                  <a:lnTo>
                    <a:pt x="656" y="184"/>
                  </a:lnTo>
                  <a:lnTo>
                    <a:pt x="640" y="176"/>
                  </a:lnTo>
                  <a:lnTo>
                    <a:pt x="616" y="208"/>
                  </a:lnTo>
                  <a:lnTo>
                    <a:pt x="608" y="208"/>
                  </a:lnTo>
                  <a:lnTo>
                    <a:pt x="592" y="224"/>
                  </a:lnTo>
                  <a:lnTo>
                    <a:pt x="592" y="216"/>
                  </a:lnTo>
                  <a:lnTo>
                    <a:pt x="584" y="208"/>
                  </a:lnTo>
                  <a:lnTo>
                    <a:pt x="592" y="192"/>
                  </a:lnTo>
                  <a:lnTo>
                    <a:pt x="584" y="192"/>
                  </a:lnTo>
                  <a:lnTo>
                    <a:pt x="576" y="184"/>
                  </a:lnTo>
                  <a:lnTo>
                    <a:pt x="568" y="200"/>
                  </a:lnTo>
                  <a:lnTo>
                    <a:pt x="560" y="208"/>
                  </a:lnTo>
                  <a:lnTo>
                    <a:pt x="560" y="216"/>
                  </a:lnTo>
                  <a:lnTo>
                    <a:pt x="544" y="216"/>
                  </a:lnTo>
                  <a:lnTo>
                    <a:pt x="544" y="224"/>
                  </a:lnTo>
                  <a:lnTo>
                    <a:pt x="576" y="248"/>
                  </a:lnTo>
                  <a:lnTo>
                    <a:pt x="584" y="248"/>
                  </a:lnTo>
                  <a:lnTo>
                    <a:pt x="592" y="232"/>
                  </a:lnTo>
                  <a:lnTo>
                    <a:pt x="616" y="240"/>
                  </a:lnTo>
                  <a:lnTo>
                    <a:pt x="616" y="248"/>
                  </a:lnTo>
                  <a:lnTo>
                    <a:pt x="608" y="248"/>
                  </a:lnTo>
                  <a:lnTo>
                    <a:pt x="600" y="256"/>
                  </a:lnTo>
                  <a:lnTo>
                    <a:pt x="584" y="280"/>
                  </a:lnTo>
                  <a:lnTo>
                    <a:pt x="608" y="288"/>
                  </a:lnTo>
                  <a:lnTo>
                    <a:pt x="624" y="312"/>
                  </a:lnTo>
                  <a:lnTo>
                    <a:pt x="640" y="328"/>
                  </a:lnTo>
                  <a:lnTo>
                    <a:pt x="632" y="328"/>
                  </a:lnTo>
                  <a:lnTo>
                    <a:pt x="640" y="336"/>
                  </a:lnTo>
                  <a:lnTo>
                    <a:pt x="624" y="344"/>
                  </a:lnTo>
                  <a:lnTo>
                    <a:pt x="648" y="352"/>
                  </a:lnTo>
                  <a:lnTo>
                    <a:pt x="648" y="376"/>
                  </a:lnTo>
                  <a:lnTo>
                    <a:pt x="640" y="384"/>
                  </a:lnTo>
                  <a:lnTo>
                    <a:pt x="632" y="400"/>
                  </a:lnTo>
                  <a:lnTo>
                    <a:pt x="632" y="416"/>
                  </a:lnTo>
                  <a:lnTo>
                    <a:pt x="624" y="432"/>
                  </a:lnTo>
                  <a:lnTo>
                    <a:pt x="616" y="432"/>
                  </a:lnTo>
                  <a:lnTo>
                    <a:pt x="616" y="440"/>
                  </a:lnTo>
                  <a:lnTo>
                    <a:pt x="600" y="456"/>
                  </a:lnTo>
                  <a:lnTo>
                    <a:pt x="576" y="464"/>
                  </a:lnTo>
                  <a:lnTo>
                    <a:pt x="576" y="472"/>
                  </a:lnTo>
                  <a:lnTo>
                    <a:pt x="568" y="464"/>
                  </a:lnTo>
                  <a:lnTo>
                    <a:pt x="568" y="472"/>
                  </a:lnTo>
                  <a:lnTo>
                    <a:pt x="560" y="464"/>
                  </a:lnTo>
                  <a:lnTo>
                    <a:pt x="560" y="472"/>
                  </a:lnTo>
                  <a:lnTo>
                    <a:pt x="528" y="488"/>
                  </a:lnTo>
                  <a:lnTo>
                    <a:pt x="528" y="496"/>
                  </a:lnTo>
                  <a:lnTo>
                    <a:pt x="520" y="496"/>
                  </a:lnTo>
                  <a:lnTo>
                    <a:pt x="520" y="480"/>
                  </a:lnTo>
                  <a:lnTo>
                    <a:pt x="496" y="480"/>
                  </a:lnTo>
                  <a:lnTo>
                    <a:pt x="480" y="472"/>
                  </a:lnTo>
                  <a:lnTo>
                    <a:pt x="472" y="464"/>
                  </a:lnTo>
                  <a:lnTo>
                    <a:pt x="456" y="456"/>
                  </a:lnTo>
                  <a:lnTo>
                    <a:pt x="424" y="464"/>
                  </a:lnTo>
                  <a:lnTo>
                    <a:pt x="416" y="464"/>
                  </a:lnTo>
                  <a:lnTo>
                    <a:pt x="408" y="464"/>
                  </a:lnTo>
                  <a:lnTo>
                    <a:pt x="408" y="480"/>
                  </a:lnTo>
                  <a:lnTo>
                    <a:pt x="408" y="488"/>
                  </a:lnTo>
                  <a:lnTo>
                    <a:pt x="408" y="480"/>
                  </a:lnTo>
                  <a:lnTo>
                    <a:pt x="392" y="480"/>
                  </a:lnTo>
                  <a:lnTo>
                    <a:pt x="376" y="472"/>
                  </a:lnTo>
                  <a:lnTo>
                    <a:pt x="376" y="456"/>
                  </a:lnTo>
                  <a:lnTo>
                    <a:pt x="368" y="456"/>
                  </a:lnTo>
                  <a:lnTo>
                    <a:pt x="368" y="440"/>
                  </a:lnTo>
                  <a:lnTo>
                    <a:pt x="352" y="448"/>
                  </a:lnTo>
                  <a:lnTo>
                    <a:pt x="360" y="400"/>
                  </a:lnTo>
                  <a:lnTo>
                    <a:pt x="352" y="384"/>
                  </a:lnTo>
                  <a:lnTo>
                    <a:pt x="336" y="384"/>
                  </a:lnTo>
                  <a:lnTo>
                    <a:pt x="312" y="360"/>
                  </a:lnTo>
                  <a:lnTo>
                    <a:pt x="296" y="360"/>
                  </a:lnTo>
                  <a:lnTo>
                    <a:pt x="280" y="376"/>
                  </a:lnTo>
                  <a:lnTo>
                    <a:pt x="264" y="384"/>
                  </a:lnTo>
                  <a:lnTo>
                    <a:pt x="240" y="376"/>
                  </a:lnTo>
                  <a:lnTo>
                    <a:pt x="232" y="392"/>
                  </a:lnTo>
                  <a:lnTo>
                    <a:pt x="224" y="384"/>
                  </a:lnTo>
                  <a:lnTo>
                    <a:pt x="216" y="384"/>
                  </a:lnTo>
                  <a:lnTo>
                    <a:pt x="192" y="384"/>
                  </a:lnTo>
                  <a:lnTo>
                    <a:pt x="160" y="360"/>
                  </a:lnTo>
                  <a:lnTo>
                    <a:pt x="152" y="368"/>
                  </a:lnTo>
                  <a:lnTo>
                    <a:pt x="136" y="352"/>
                  </a:lnTo>
                  <a:lnTo>
                    <a:pt x="120" y="352"/>
                  </a:lnTo>
                  <a:lnTo>
                    <a:pt x="96" y="336"/>
                  </a:lnTo>
                  <a:lnTo>
                    <a:pt x="80" y="320"/>
                  </a:lnTo>
                  <a:lnTo>
                    <a:pt x="80" y="312"/>
                  </a:lnTo>
                  <a:lnTo>
                    <a:pt x="96" y="312"/>
                  </a:lnTo>
                  <a:lnTo>
                    <a:pt x="88" y="296"/>
                  </a:lnTo>
                  <a:lnTo>
                    <a:pt x="96" y="280"/>
                  </a:lnTo>
                  <a:lnTo>
                    <a:pt x="96" y="272"/>
                  </a:lnTo>
                  <a:lnTo>
                    <a:pt x="80" y="264"/>
                  </a:lnTo>
                  <a:lnTo>
                    <a:pt x="64" y="272"/>
                  </a:lnTo>
                  <a:lnTo>
                    <a:pt x="40" y="264"/>
                  </a:lnTo>
                  <a:lnTo>
                    <a:pt x="32" y="248"/>
                  </a:lnTo>
                  <a:lnTo>
                    <a:pt x="16" y="248"/>
                  </a:lnTo>
                  <a:lnTo>
                    <a:pt x="16" y="240"/>
                  </a:lnTo>
                  <a:lnTo>
                    <a:pt x="16" y="224"/>
                  </a:lnTo>
                  <a:lnTo>
                    <a:pt x="8" y="224"/>
                  </a:lnTo>
                  <a:lnTo>
                    <a:pt x="0" y="216"/>
                  </a:lnTo>
                  <a:lnTo>
                    <a:pt x="0" y="208"/>
                  </a:lnTo>
                  <a:lnTo>
                    <a:pt x="0" y="200"/>
                  </a:lnTo>
                  <a:lnTo>
                    <a:pt x="8" y="192"/>
                  </a:lnTo>
                  <a:lnTo>
                    <a:pt x="32" y="192"/>
                  </a:lnTo>
                  <a:lnTo>
                    <a:pt x="32" y="184"/>
                  </a:lnTo>
                  <a:lnTo>
                    <a:pt x="48" y="184"/>
                  </a:lnTo>
                  <a:lnTo>
                    <a:pt x="64" y="176"/>
                  </a:lnTo>
                  <a:lnTo>
                    <a:pt x="64" y="168"/>
                  </a:lnTo>
                  <a:lnTo>
                    <a:pt x="64" y="152"/>
                  </a:lnTo>
                  <a:lnTo>
                    <a:pt x="56" y="128"/>
                  </a:lnTo>
                  <a:lnTo>
                    <a:pt x="72" y="120"/>
                  </a:lnTo>
                  <a:lnTo>
                    <a:pt x="72" y="96"/>
                  </a:lnTo>
                  <a:lnTo>
                    <a:pt x="96" y="96"/>
                  </a:lnTo>
                  <a:lnTo>
                    <a:pt x="104" y="96"/>
                  </a:lnTo>
                  <a:lnTo>
                    <a:pt x="104" y="80"/>
                  </a:lnTo>
                  <a:lnTo>
                    <a:pt x="112" y="7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60">
              <a:extLst>
                <a:ext uri="{FF2B5EF4-FFF2-40B4-BE49-F238E27FC236}">
                  <a16:creationId xmlns:a16="http://schemas.microsoft.com/office/drawing/2014/main" id="{83AB1FEF-14C3-452C-B0AC-5A59678320A3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9293476" y="3284642"/>
              <a:ext cx="174211" cy="191581"/>
            </a:xfrm>
            <a:custGeom>
              <a:avLst/>
              <a:gdLst>
                <a:gd name="T0" fmla="*/ 17264 w 64"/>
                <a:gd name="T1" fmla="*/ 59055 h 80"/>
                <a:gd name="T2" fmla="*/ 0 w 64"/>
                <a:gd name="T3" fmla="*/ 44291 h 80"/>
                <a:gd name="T4" fmla="*/ 17264 w 64"/>
                <a:gd name="T5" fmla="*/ 29528 h 80"/>
                <a:gd name="T6" fmla="*/ 0 w 64"/>
                <a:gd name="T7" fmla="*/ 14764 h 80"/>
                <a:gd name="T8" fmla="*/ 0 w 64"/>
                <a:gd name="T9" fmla="*/ 0 h 80"/>
                <a:gd name="T10" fmla="*/ 17264 w 64"/>
                <a:gd name="T11" fmla="*/ 0 h 80"/>
                <a:gd name="T12" fmla="*/ 34528 w 64"/>
                <a:gd name="T13" fmla="*/ 0 h 80"/>
                <a:gd name="T14" fmla="*/ 51792 w 64"/>
                <a:gd name="T15" fmla="*/ 29528 h 80"/>
                <a:gd name="T16" fmla="*/ 120849 w 64"/>
                <a:gd name="T17" fmla="*/ 29528 h 80"/>
                <a:gd name="T18" fmla="*/ 86321 w 64"/>
                <a:gd name="T19" fmla="*/ 59055 h 80"/>
                <a:gd name="T20" fmla="*/ 86321 w 64"/>
                <a:gd name="T21" fmla="*/ 73819 h 80"/>
                <a:gd name="T22" fmla="*/ 120849 w 64"/>
                <a:gd name="T23" fmla="*/ 88583 h 80"/>
                <a:gd name="T24" fmla="*/ 120849 w 64"/>
                <a:gd name="T25" fmla="*/ 73819 h 80"/>
                <a:gd name="T26" fmla="*/ 138113 w 64"/>
                <a:gd name="T27" fmla="*/ 118110 h 80"/>
                <a:gd name="T28" fmla="*/ 138113 w 64"/>
                <a:gd name="T29" fmla="*/ 147638 h 80"/>
                <a:gd name="T30" fmla="*/ 103585 w 64"/>
                <a:gd name="T31" fmla="*/ 103347 h 80"/>
                <a:gd name="T32" fmla="*/ 86321 w 64"/>
                <a:gd name="T33" fmla="*/ 132874 h 80"/>
                <a:gd name="T34" fmla="*/ 34528 w 64"/>
                <a:gd name="T35" fmla="*/ 132874 h 80"/>
                <a:gd name="T36" fmla="*/ 17264 w 64"/>
                <a:gd name="T37" fmla="*/ 59055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4"/>
                <a:gd name="T58" fmla="*/ 0 h 80"/>
                <a:gd name="T59" fmla="*/ 64 w 64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4" h="80">
                  <a:moveTo>
                    <a:pt x="8" y="32"/>
                  </a:moveTo>
                  <a:lnTo>
                    <a:pt x="0" y="24"/>
                  </a:lnTo>
                  <a:lnTo>
                    <a:pt x="8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24" y="16"/>
                  </a:lnTo>
                  <a:lnTo>
                    <a:pt x="56" y="16"/>
                  </a:lnTo>
                  <a:lnTo>
                    <a:pt x="40" y="32"/>
                  </a:lnTo>
                  <a:lnTo>
                    <a:pt x="40" y="40"/>
                  </a:lnTo>
                  <a:lnTo>
                    <a:pt x="56" y="48"/>
                  </a:lnTo>
                  <a:lnTo>
                    <a:pt x="56" y="40"/>
                  </a:lnTo>
                  <a:lnTo>
                    <a:pt x="64" y="64"/>
                  </a:lnTo>
                  <a:lnTo>
                    <a:pt x="64" y="80"/>
                  </a:lnTo>
                  <a:lnTo>
                    <a:pt x="48" y="56"/>
                  </a:lnTo>
                  <a:lnTo>
                    <a:pt x="40" y="72"/>
                  </a:lnTo>
                  <a:lnTo>
                    <a:pt x="16" y="72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61">
              <a:extLst>
                <a:ext uri="{FF2B5EF4-FFF2-40B4-BE49-F238E27FC236}">
                  <a16:creationId xmlns:a16="http://schemas.microsoft.com/office/drawing/2014/main" id="{BBE3B8E9-C345-4B21-9F6D-4EA1736DF77C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9315504" y="3208421"/>
              <a:ext cx="108131" cy="55621"/>
            </a:xfrm>
            <a:custGeom>
              <a:avLst/>
              <a:gdLst>
                <a:gd name="T0" fmla="*/ 68580 w 40"/>
                <a:gd name="T1" fmla="*/ 14288 h 24"/>
                <a:gd name="T2" fmla="*/ 17145 w 40"/>
                <a:gd name="T3" fmla="*/ 0 h 24"/>
                <a:gd name="T4" fmla="*/ 0 w 40"/>
                <a:gd name="T5" fmla="*/ 28575 h 24"/>
                <a:gd name="T6" fmla="*/ 0 w 40"/>
                <a:gd name="T7" fmla="*/ 42863 h 24"/>
                <a:gd name="T8" fmla="*/ 17145 w 40"/>
                <a:gd name="T9" fmla="*/ 42863 h 24"/>
                <a:gd name="T10" fmla="*/ 85725 w 40"/>
                <a:gd name="T11" fmla="*/ 42863 h 24"/>
                <a:gd name="T12" fmla="*/ 85725 w 40"/>
                <a:gd name="T13" fmla="*/ 28575 h 24"/>
                <a:gd name="T14" fmla="*/ 68580 w 40"/>
                <a:gd name="T15" fmla="*/ 14288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0"/>
                <a:gd name="T25" fmla="*/ 0 h 24"/>
                <a:gd name="T26" fmla="*/ 40 w 40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0" h="24">
                  <a:moveTo>
                    <a:pt x="32" y="8"/>
                  </a:moveTo>
                  <a:lnTo>
                    <a:pt x="8" y="0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62">
              <a:extLst>
                <a:ext uri="{FF2B5EF4-FFF2-40B4-BE49-F238E27FC236}">
                  <a16:creationId xmlns:a16="http://schemas.microsoft.com/office/drawing/2014/main" id="{84B2816C-416A-41DE-9207-A7130E51407B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8594632" y="2938561"/>
              <a:ext cx="1003213" cy="1015584"/>
            </a:xfrm>
            <a:custGeom>
              <a:avLst/>
              <a:gdLst>
                <a:gd name="T0" fmla="*/ 570569 w 368"/>
                <a:gd name="T1" fmla="*/ 236268 h 424"/>
                <a:gd name="T2" fmla="*/ 587859 w 368"/>
                <a:gd name="T3" fmla="*/ 251035 h 424"/>
                <a:gd name="T4" fmla="*/ 657018 w 368"/>
                <a:gd name="T5" fmla="*/ 236268 h 424"/>
                <a:gd name="T6" fmla="*/ 674308 w 368"/>
                <a:gd name="T7" fmla="*/ 206735 h 424"/>
                <a:gd name="T8" fmla="*/ 743468 w 368"/>
                <a:gd name="T9" fmla="*/ 177201 h 424"/>
                <a:gd name="T10" fmla="*/ 795338 w 368"/>
                <a:gd name="T11" fmla="*/ 236268 h 424"/>
                <a:gd name="T12" fmla="*/ 743468 w 368"/>
                <a:gd name="T13" fmla="*/ 265802 h 424"/>
                <a:gd name="T14" fmla="*/ 708888 w 368"/>
                <a:gd name="T15" fmla="*/ 339635 h 424"/>
                <a:gd name="T16" fmla="*/ 691598 w 368"/>
                <a:gd name="T17" fmla="*/ 383936 h 424"/>
                <a:gd name="T18" fmla="*/ 674308 w 368"/>
                <a:gd name="T19" fmla="*/ 354402 h 424"/>
                <a:gd name="T20" fmla="*/ 639728 w 368"/>
                <a:gd name="T21" fmla="*/ 324869 h 424"/>
                <a:gd name="T22" fmla="*/ 605149 w 368"/>
                <a:gd name="T23" fmla="*/ 295335 h 424"/>
                <a:gd name="T24" fmla="*/ 570569 w 368"/>
                <a:gd name="T25" fmla="*/ 265802 h 424"/>
                <a:gd name="T26" fmla="*/ 553279 w 368"/>
                <a:gd name="T27" fmla="*/ 280568 h 424"/>
                <a:gd name="T28" fmla="*/ 553279 w 368"/>
                <a:gd name="T29" fmla="*/ 310102 h 424"/>
                <a:gd name="T30" fmla="*/ 587859 w 368"/>
                <a:gd name="T31" fmla="*/ 398702 h 424"/>
                <a:gd name="T32" fmla="*/ 570569 w 368"/>
                <a:gd name="T33" fmla="*/ 398702 h 424"/>
                <a:gd name="T34" fmla="*/ 535989 w 368"/>
                <a:gd name="T35" fmla="*/ 443003 h 424"/>
                <a:gd name="T36" fmla="*/ 484119 w 368"/>
                <a:gd name="T37" fmla="*/ 487303 h 424"/>
                <a:gd name="T38" fmla="*/ 414959 w 368"/>
                <a:gd name="T39" fmla="*/ 546370 h 424"/>
                <a:gd name="T40" fmla="*/ 397669 w 368"/>
                <a:gd name="T41" fmla="*/ 561137 h 424"/>
                <a:gd name="T42" fmla="*/ 363089 w 368"/>
                <a:gd name="T43" fmla="*/ 575903 h 424"/>
                <a:gd name="T44" fmla="*/ 363089 w 368"/>
                <a:gd name="T45" fmla="*/ 679271 h 424"/>
                <a:gd name="T46" fmla="*/ 345799 w 368"/>
                <a:gd name="T47" fmla="*/ 738338 h 424"/>
                <a:gd name="T48" fmla="*/ 311219 w 368"/>
                <a:gd name="T49" fmla="*/ 782638 h 424"/>
                <a:gd name="T50" fmla="*/ 207479 w 368"/>
                <a:gd name="T51" fmla="*/ 590670 h 424"/>
                <a:gd name="T52" fmla="*/ 138320 w 368"/>
                <a:gd name="T53" fmla="*/ 383936 h 424"/>
                <a:gd name="T54" fmla="*/ 121030 w 368"/>
                <a:gd name="T55" fmla="*/ 413469 h 424"/>
                <a:gd name="T56" fmla="*/ 86450 w 368"/>
                <a:gd name="T57" fmla="*/ 428236 h 424"/>
                <a:gd name="T58" fmla="*/ 69160 w 368"/>
                <a:gd name="T59" fmla="*/ 369169 h 424"/>
                <a:gd name="T60" fmla="*/ 34580 w 368"/>
                <a:gd name="T61" fmla="*/ 369169 h 424"/>
                <a:gd name="T62" fmla="*/ 17290 w 368"/>
                <a:gd name="T63" fmla="*/ 324869 h 424"/>
                <a:gd name="T64" fmla="*/ 69160 w 368"/>
                <a:gd name="T65" fmla="*/ 310102 h 424"/>
                <a:gd name="T66" fmla="*/ 51870 w 368"/>
                <a:gd name="T67" fmla="*/ 280568 h 424"/>
                <a:gd name="T68" fmla="*/ 34580 w 368"/>
                <a:gd name="T69" fmla="*/ 251035 h 424"/>
                <a:gd name="T70" fmla="*/ 51870 w 368"/>
                <a:gd name="T71" fmla="*/ 221501 h 424"/>
                <a:gd name="T72" fmla="*/ 86450 w 368"/>
                <a:gd name="T73" fmla="*/ 221501 h 424"/>
                <a:gd name="T74" fmla="*/ 138320 w 368"/>
                <a:gd name="T75" fmla="*/ 103367 h 424"/>
                <a:gd name="T76" fmla="*/ 121030 w 368"/>
                <a:gd name="T77" fmla="*/ 73834 h 424"/>
                <a:gd name="T78" fmla="*/ 103740 w 368"/>
                <a:gd name="T79" fmla="*/ 29534 h 424"/>
                <a:gd name="T80" fmla="*/ 190190 w 368"/>
                <a:gd name="T81" fmla="*/ 29534 h 424"/>
                <a:gd name="T82" fmla="*/ 242059 w 368"/>
                <a:gd name="T83" fmla="*/ 0 h 424"/>
                <a:gd name="T84" fmla="*/ 276639 w 368"/>
                <a:gd name="T85" fmla="*/ 29534 h 424"/>
                <a:gd name="T86" fmla="*/ 276639 w 368"/>
                <a:gd name="T87" fmla="*/ 88601 h 424"/>
                <a:gd name="T88" fmla="*/ 242059 w 368"/>
                <a:gd name="T89" fmla="*/ 103367 h 424"/>
                <a:gd name="T90" fmla="*/ 328509 w 368"/>
                <a:gd name="T91" fmla="*/ 162434 h 424"/>
                <a:gd name="T92" fmla="*/ 397669 w 368"/>
                <a:gd name="T93" fmla="*/ 236268 h 424"/>
                <a:gd name="T94" fmla="*/ 466829 w 368"/>
                <a:gd name="T95" fmla="*/ 251035 h 424"/>
                <a:gd name="T96" fmla="*/ 553279 w 368"/>
                <a:gd name="T97" fmla="*/ 265802 h 424"/>
                <a:gd name="T98" fmla="*/ 535989 w 368"/>
                <a:gd name="T99" fmla="*/ 221501 h 42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68"/>
                <a:gd name="T151" fmla="*/ 0 h 424"/>
                <a:gd name="T152" fmla="*/ 368 w 368"/>
                <a:gd name="T153" fmla="*/ 424 h 42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68" h="424">
                  <a:moveTo>
                    <a:pt x="256" y="120"/>
                  </a:moveTo>
                  <a:lnTo>
                    <a:pt x="264" y="128"/>
                  </a:lnTo>
                  <a:lnTo>
                    <a:pt x="264" y="136"/>
                  </a:lnTo>
                  <a:lnTo>
                    <a:pt x="272" y="136"/>
                  </a:lnTo>
                  <a:lnTo>
                    <a:pt x="304" y="136"/>
                  </a:lnTo>
                  <a:lnTo>
                    <a:pt x="304" y="128"/>
                  </a:lnTo>
                  <a:lnTo>
                    <a:pt x="296" y="120"/>
                  </a:lnTo>
                  <a:lnTo>
                    <a:pt x="312" y="112"/>
                  </a:lnTo>
                  <a:lnTo>
                    <a:pt x="328" y="96"/>
                  </a:lnTo>
                  <a:lnTo>
                    <a:pt x="344" y="96"/>
                  </a:lnTo>
                  <a:lnTo>
                    <a:pt x="368" y="120"/>
                  </a:lnTo>
                  <a:lnTo>
                    <a:pt x="368" y="128"/>
                  </a:lnTo>
                  <a:lnTo>
                    <a:pt x="360" y="128"/>
                  </a:lnTo>
                  <a:lnTo>
                    <a:pt x="344" y="144"/>
                  </a:lnTo>
                  <a:lnTo>
                    <a:pt x="336" y="184"/>
                  </a:lnTo>
                  <a:lnTo>
                    <a:pt x="328" y="184"/>
                  </a:lnTo>
                  <a:lnTo>
                    <a:pt x="328" y="208"/>
                  </a:lnTo>
                  <a:lnTo>
                    <a:pt x="320" y="208"/>
                  </a:lnTo>
                  <a:lnTo>
                    <a:pt x="312" y="184"/>
                  </a:lnTo>
                  <a:lnTo>
                    <a:pt x="312" y="192"/>
                  </a:lnTo>
                  <a:lnTo>
                    <a:pt x="296" y="184"/>
                  </a:lnTo>
                  <a:lnTo>
                    <a:pt x="296" y="176"/>
                  </a:lnTo>
                  <a:lnTo>
                    <a:pt x="312" y="160"/>
                  </a:lnTo>
                  <a:lnTo>
                    <a:pt x="280" y="160"/>
                  </a:lnTo>
                  <a:lnTo>
                    <a:pt x="272" y="144"/>
                  </a:lnTo>
                  <a:lnTo>
                    <a:pt x="264" y="144"/>
                  </a:lnTo>
                  <a:lnTo>
                    <a:pt x="256" y="144"/>
                  </a:lnTo>
                  <a:lnTo>
                    <a:pt x="256" y="152"/>
                  </a:lnTo>
                  <a:lnTo>
                    <a:pt x="264" y="160"/>
                  </a:lnTo>
                  <a:lnTo>
                    <a:pt x="256" y="168"/>
                  </a:lnTo>
                  <a:lnTo>
                    <a:pt x="264" y="176"/>
                  </a:lnTo>
                  <a:lnTo>
                    <a:pt x="272" y="216"/>
                  </a:lnTo>
                  <a:lnTo>
                    <a:pt x="264" y="208"/>
                  </a:lnTo>
                  <a:lnTo>
                    <a:pt x="264" y="216"/>
                  </a:lnTo>
                  <a:lnTo>
                    <a:pt x="248" y="216"/>
                  </a:lnTo>
                  <a:lnTo>
                    <a:pt x="248" y="240"/>
                  </a:lnTo>
                  <a:lnTo>
                    <a:pt x="232" y="248"/>
                  </a:lnTo>
                  <a:lnTo>
                    <a:pt x="224" y="264"/>
                  </a:lnTo>
                  <a:lnTo>
                    <a:pt x="200" y="288"/>
                  </a:lnTo>
                  <a:lnTo>
                    <a:pt x="192" y="296"/>
                  </a:lnTo>
                  <a:lnTo>
                    <a:pt x="184" y="296"/>
                  </a:lnTo>
                  <a:lnTo>
                    <a:pt x="184" y="304"/>
                  </a:lnTo>
                  <a:lnTo>
                    <a:pt x="176" y="304"/>
                  </a:lnTo>
                  <a:lnTo>
                    <a:pt x="168" y="312"/>
                  </a:lnTo>
                  <a:lnTo>
                    <a:pt x="176" y="344"/>
                  </a:lnTo>
                  <a:lnTo>
                    <a:pt x="168" y="368"/>
                  </a:lnTo>
                  <a:lnTo>
                    <a:pt x="168" y="384"/>
                  </a:lnTo>
                  <a:lnTo>
                    <a:pt x="160" y="400"/>
                  </a:lnTo>
                  <a:lnTo>
                    <a:pt x="152" y="408"/>
                  </a:lnTo>
                  <a:lnTo>
                    <a:pt x="144" y="424"/>
                  </a:lnTo>
                  <a:lnTo>
                    <a:pt x="128" y="408"/>
                  </a:lnTo>
                  <a:lnTo>
                    <a:pt x="96" y="320"/>
                  </a:lnTo>
                  <a:lnTo>
                    <a:pt x="80" y="296"/>
                  </a:lnTo>
                  <a:lnTo>
                    <a:pt x="64" y="208"/>
                  </a:lnTo>
                  <a:lnTo>
                    <a:pt x="56" y="208"/>
                  </a:lnTo>
                  <a:lnTo>
                    <a:pt x="56" y="224"/>
                  </a:lnTo>
                  <a:lnTo>
                    <a:pt x="48" y="224"/>
                  </a:lnTo>
                  <a:lnTo>
                    <a:pt x="40" y="232"/>
                  </a:lnTo>
                  <a:lnTo>
                    <a:pt x="16" y="208"/>
                  </a:lnTo>
                  <a:lnTo>
                    <a:pt x="32" y="200"/>
                  </a:lnTo>
                  <a:lnTo>
                    <a:pt x="32" y="192"/>
                  </a:lnTo>
                  <a:lnTo>
                    <a:pt x="16" y="200"/>
                  </a:lnTo>
                  <a:lnTo>
                    <a:pt x="0" y="184"/>
                  </a:lnTo>
                  <a:lnTo>
                    <a:pt x="8" y="176"/>
                  </a:lnTo>
                  <a:lnTo>
                    <a:pt x="32" y="176"/>
                  </a:lnTo>
                  <a:lnTo>
                    <a:pt x="32" y="168"/>
                  </a:lnTo>
                  <a:lnTo>
                    <a:pt x="32" y="152"/>
                  </a:lnTo>
                  <a:lnTo>
                    <a:pt x="24" y="152"/>
                  </a:lnTo>
                  <a:lnTo>
                    <a:pt x="24" y="144"/>
                  </a:lnTo>
                  <a:lnTo>
                    <a:pt x="16" y="136"/>
                  </a:lnTo>
                  <a:lnTo>
                    <a:pt x="16" y="128"/>
                  </a:lnTo>
                  <a:lnTo>
                    <a:pt x="24" y="120"/>
                  </a:lnTo>
                  <a:lnTo>
                    <a:pt x="32" y="120"/>
                  </a:lnTo>
                  <a:lnTo>
                    <a:pt x="40" y="120"/>
                  </a:lnTo>
                  <a:lnTo>
                    <a:pt x="72" y="72"/>
                  </a:lnTo>
                  <a:lnTo>
                    <a:pt x="64" y="56"/>
                  </a:lnTo>
                  <a:lnTo>
                    <a:pt x="72" y="56"/>
                  </a:lnTo>
                  <a:lnTo>
                    <a:pt x="56" y="40"/>
                  </a:lnTo>
                  <a:lnTo>
                    <a:pt x="56" y="24"/>
                  </a:lnTo>
                  <a:lnTo>
                    <a:pt x="48" y="16"/>
                  </a:lnTo>
                  <a:lnTo>
                    <a:pt x="72" y="16"/>
                  </a:lnTo>
                  <a:lnTo>
                    <a:pt x="88" y="16"/>
                  </a:lnTo>
                  <a:lnTo>
                    <a:pt x="96" y="8"/>
                  </a:lnTo>
                  <a:lnTo>
                    <a:pt x="112" y="0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0" y="32"/>
                  </a:lnTo>
                  <a:lnTo>
                    <a:pt x="128" y="48"/>
                  </a:lnTo>
                  <a:lnTo>
                    <a:pt x="112" y="48"/>
                  </a:lnTo>
                  <a:lnTo>
                    <a:pt x="112" y="56"/>
                  </a:lnTo>
                  <a:lnTo>
                    <a:pt x="128" y="72"/>
                  </a:lnTo>
                  <a:lnTo>
                    <a:pt x="152" y="88"/>
                  </a:lnTo>
                  <a:lnTo>
                    <a:pt x="144" y="104"/>
                  </a:lnTo>
                  <a:lnTo>
                    <a:pt x="184" y="128"/>
                  </a:lnTo>
                  <a:lnTo>
                    <a:pt x="200" y="128"/>
                  </a:lnTo>
                  <a:lnTo>
                    <a:pt x="216" y="136"/>
                  </a:lnTo>
                  <a:lnTo>
                    <a:pt x="240" y="144"/>
                  </a:lnTo>
                  <a:lnTo>
                    <a:pt x="256" y="144"/>
                  </a:lnTo>
                  <a:lnTo>
                    <a:pt x="248" y="136"/>
                  </a:lnTo>
                  <a:lnTo>
                    <a:pt x="248" y="120"/>
                  </a:lnTo>
                  <a:lnTo>
                    <a:pt x="256" y="1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63">
              <a:extLst>
                <a:ext uri="{FF2B5EF4-FFF2-40B4-BE49-F238E27FC236}">
                  <a16:creationId xmlns:a16="http://schemas.microsoft.com/office/drawing/2014/main" id="{BF924DFE-7DDF-44FD-B6E7-BCF3C9251E32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8987107" y="3150741"/>
              <a:ext cx="306371" cy="133901"/>
            </a:xfrm>
            <a:custGeom>
              <a:avLst/>
              <a:gdLst>
                <a:gd name="T0" fmla="*/ 225539 w 112"/>
                <a:gd name="T1" fmla="*/ 88447 h 56"/>
                <a:gd name="T2" fmla="*/ 225539 w 112"/>
                <a:gd name="T3" fmla="*/ 58965 h 56"/>
                <a:gd name="T4" fmla="*/ 173491 w 112"/>
                <a:gd name="T5" fmla="*/ 58965 h 56"/>
                <a:gd name="T6" fmla="*/ 104095 w 112"/>
                <a:gd name="T7" fmla="*/ 14741 h 56"/>
                <a:gd name="T8" fmla="*/ 86746 w 112"/>
                <a:gd name="T9" fmla="*/ 29482 h 56"/>
                <a:gd name="T10" fmla="*/ 52047 w 112"/>
                <a:gd name="T11" fmla="*/ 0 h 56"/>
                <a:gd name="T12" fmla="*/ 17349 w 112"/>
                <a:gd name="T13" fmla="*/ 0 h 56"/>
                <a:gd name="T14" fmla="*/ 0 w 112"/>
                <a:gd name="T15" fmla="*/ 29482 h 56"/>
                <a:gd name="T16" fmla="*/ 86746 w 112"/>
                <a:gd name="T17" fmla="*/ 73706 h 56"/>
                <a:gd name="T18" fmla="*/ 121444 w 112"/>
                <a:gd name="T19" fmla="*/ 73706 h 56"/>
                <a:gd name="T20" fmla="*/ 156142 w 112"/>
                <a:gd name="T21" fmla="*/ 88447 h 56"/>
                <a:gd name="T22" fmla="*/ 208190 w 112"/>
                <a:gd name="T23" fmla="*/ 103188 h 56"/>
                <a:gd name="T24" fmla="*/ 242888 w 112"/>
                <a:gd name="T25" fmla="*/ 103188 h 56"/>
                <a:gd name="T26" fmla="*/ 225539 w 112"/>
                <a:gd name="T27" fmla="*/ 88447 h 5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12"/>
                <a:gd name="T43" fmla="*/ 0 h 56"/>
                <a:gd name="T44" fmla="*/ 112 w 112"/>
                <a:gd name="T45" fmla="*/ 56 h 5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12" h="56">
                  <a:moveTo>
                    <a:pt x="104" y="48"/>
                  </a:moveTo>
                  <a:lnTo>
                    <a:pt x="104" y="32"/>
                  </a:lnTo>
                  <a:lnTo>
                    <a:pt x="80" y="32"/>
                  </a:lnTo>
                  <a:lnTo>
                    <a:pt x="48" y="8"/>
                  </a:lnTo>
                  <a:lnTo>
                    <a:pt x="40" y="16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40" y="40"/>
                  </a:lnTo>
                  <a:lnTo>
                    <a:pt x="56" y="40"/>
                  </a:lnTo>
                  <a:lnTo>
                    <a:pt x="72" y="48"/>
                  </a:lnTo>
                  <a:lnTo>
                    <a:pt x="96" y="56"/>
                  </a:lnTo>
                  <a:lnTo>
                    <a:pt x="112" y="56"/>
                  </a:lnTo>
                  <a:lnTo>
                    <a:pt x="104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64">
              <a:extLst>
                <a:ext uri="{FF2B5EF4-FFF2-40B4-BE49-F238E27FC236}">
                  <a16:creationId xmlns:a16="http://schemas.microsoft.com/office/drawing/2014/main" id="{49359691-5B8D-4B73-9CD0-C8CB38318711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7679526" y="2786120"/>
              <a:ext cx="718870" cy="535602"/>
            </a:xfrm>
            <a:custGeom>
              <a:avLst/>
              <a:gdLst>
                <a:gd name="T0" fmla="*/ 414482 w 264"/>
                <a:gd name="T1" fmla="*/ 398009 h 224"/>
                <a:gd name="T2" fmla="*/ 397212 w 264"/>
                <a:gd name="T3" fmla="*/ 368527 h 224"/>
                <a:gd name="T4" fmla="*/ 345402 w 264"/>
                <a:gd name="T5" fmla="*/ 383268 h 224"/>
                <a:gd name="T6" fmla="*/ 310862 w 264"/>
                <a:gd name="T7" fmla="*/ 383268 h 224"/>
                <a:gd name="T8" fmla="*/ 241781 w 264"/>
                <a:gd name="T9" fmla="*/ 339045 h 224"/>
                <a:gd name="T10" fmla="*/ 207241 w 264"/>
                <a:gd name="T11" fmla="*/ 280080 h 224"/>
                <a:gd name="T12" fmla="*/ 172701 w 264"/>
                <a:gd name="T13" fmla="*/ 265339 h 224"/>
                <a:gd name="T14" fmla="*/ 155431 w 264"/>
                <a:gd name="T15" fmla="*/ 280080 h 224"/>
                <a:gd name="T16" fmla="*/ 120891 w 264"/>
                <a:gd name="T17" fmla="*/ 250598 h 224"/>
                <a:gd name="T18" fmla="*/ 120891 w 264"/>
                <a:gd name="T19" fmla="*/ 206375 h 224"/>
                <a:gd name="T20" fmla="*/ 69080 w 264"/>
                <a:gd name="T21" fmla="*/ 191634 h 224"/>
                <a:gd name="T22" fmla="*/ 51810 w 264"/>
                <a:gd name="T23" fmla="*/ 162152 h 224"/>
                <a:gd name="T24" fmla="*/ 69080 w 264"/>
                <a:gd name="T25" fmla="*/ 132670 h 224"/>
                <a:gd name="T26" fmla="*/ 34540 w 264"/>
                <a:gd name="T27" fmla="*/ 73705 h 224"/>
                <a:gd name="T28" fmla="*/ 0 w 264"/>
                <a:gd name="T29" fmla="*/ 14741 h 224"/>
                <a:gd name="T30" fmla="*/ 17270 w 264"/>
                <a:gd name="T31" fmla="*/ 0 h 224"/>
                <a:gd name="T32" fmla="*/ 34540 w 264"/>
                <a:gd name="T33" fmla="*/ 29482 h 224"/>
                <a:gd name="T34" fmla="*/ 51810 w 264"/>
                <a:gd name="T35" fmla="*/ 29482 h 224"/>
                <a:gd name="T36" fmla="*/ 69080 w 264"/>
                <a:gd name="T37" fmla="*/ 29482 h 224"/>
                <a:gd name="T38" fmla="*/ 103621 w 264"/>
                <a:gd name="T39" fmla="*/ 14741 h 224"/>
                <a:gd name="T40" fmla="*/ 103621 w 264"/>
                <a:gd name="T41" fmla="*/ 29482 h 224"/>
                <a:gd name="T42" fmla="*/ 138161 w 264"/>
                <a:gd name="T43" fmla="*/ 44223 h 224"/>
                <a:gd name="T44" fmla="*/ 138161 w 264"/>
                <a:gd name="T45" fmla="*/ 73705 h 224"/>
                <a:gd name="T46" fmla="*/ 207241 w 264"/>
                <a:gd name="T47" fmla="*/ 103188 h 224"/>
                <a:gd name="T48" fmla="*/ 276321 w 264"/>
                <a:gd name="T49" fmla="*/ 88446 h 224"/>
                <a:gd name="T50" fmla="*/ 276321 w 264"/>
                <a:gd name="T51" fmla="*/ 73705 h 224"/>
                <a:gd name="T52" fmla="*/ 310862 w 264"/>
                <a:gd name="T53" fmla="*/ 58964 h 224"/>
                <a:gd name="T54" fmla="*/ 345402 w 264"/>
                <a:gd name="T55" fmla="*/ 44223 h 224"/>
                <a:gd name="T56" fmla="*/ 483562 w 264"/>
                <a:gd name="T57" fmla="*/ 103188 h 224"/>
                <a:gd name="T58" fmla="*/ 483562 w 264"/>
                <a:gd name="T59" fmla="*/ 117929 h 224"/>
                <a:gd name="T60" fmla="*/ 483562 w 264"/>
                <a:gd name="T61" fmla="*/ 147411 h 224"/>
                <a:gd name="T62" fmla="*/ 466292 w 264"/>
                <a:gd name="T63" fmla="*/ 162152 h 224"/>
                <a:gd name="T64" fmla="*/ 466292 w 264"/>
                <a:gd name="T65" fmla="*/ 176893 h 224"/>
                <a:gd name="T66" fmla="*/ 483562 w 264"/>
                <a:gd name="T67" fmla="*/ 235857 h 224"/>
                <a:gd name="T68" fmla="*/ 518103 w 264"/>
                <a:gd name="T69" fmla="*/ 235857 h 224"/>
                <a:gd name="T70" fmla="*/ 518103 w 264"/>
                <a:gd name="T71" fmla="*/ 250598 h 224"/>
                <a:gd name="T72" fmla="*/ 500833 w 264"/>
                <a:gd name="T73" fmla="*/ 280080 h 224"/>
                <a:gd name="T74" fmla="*/ 535373 w 264"/>
                <a:gd name="T75" fmla="*/ 324304 h 224"/>
                <a:gd name="T76" fmla="*/ 552643 w 264"/>
                <a:gd name="T77" fmla="*/ 324304 h 224"/>
                <a:gd name="T78" fmla="*/ 569913 w 264"/>
                <a:gd name="T79" fmla="*/ 353786 h 224"/>
                <a:gd name="T80" fmla="*/ 569913 w 264"/>
                <a:gd name="T81" fmla="*/ 368527 h 224"/>
                <a:gd name="T82" fmla="*/ 535373 w 264"/>
                <a:gd name="T83" fmla="*/ 383268 h 224"/>
                <a:gd name="T84" fmla="*/ 535373 w 264"/>
                <a:gd name="T85" fmla="*/ 412750 h 224"/>
                <a:gd name="T86" fmla="*/ 414482 w 264"/>
                <a:gd name="T87" fmla="*/ 398009 h 22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64"/>
                <a:gd name="T133" fmla="*/ 0 h 224"/>
                <a:gd name="T134" fmla="*/ 264 w 264"/>
                <a:gd name="T135" fmla="*/ 224 h 22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64" h="224">
                  <a:moveTo>
                    <a:pt x="192" y="216"/>
                  </a:moveTo>
                  <a:lnTo>
                    <a:pt x="184" y="200"/>
                  </a:lnTo>
                  <a:lnTo>
                    <a:pt x="160" y="208"/>
                  </a:lnTo>
                  <a:lnTo>
                    <a:pt x="144" y="208"/>
                  </a:lnTo>
                  <a:lnTo>
                    <a:pt x="112" y="184"/>
                  </a:lnTo>
                  <a:lnTo>
                    <a:pt x="96" y="152"/>
                  </a:lnTo>
                  <a:lnTo>
                    <a:pt x="80" y="144"/>
                  </a:lnTo>
                  <a:lnTo>
                    <a:pt x="72" y="152"/>
                  </a:lnTo>
                  <a:lnTo>
                    <a:pt x="56" y="136"/>
                  </a:lnTo>
                  <a:lnTo>
                    <a:pt x="56" y="112"/>
                  </a:lnTo>
                  <a:lnTo>
                    <a:pt x="32" y="104"/>
                  </a:lnTo>
                  <a:lnTo>
                    <a:pt x="24" y="88"/>
                  </a:lnTo>
                  <a:lnTo>
                    <a:pt x="32" y="72"/>
                  </a:lnTo>
                  <a:lnTo>
                    <a:pt x="16" y="40"/>
                  </a:lnTo>
                  <a:lnTo>
                    <a:pt x="0" y="8"/>
                  </a:lnTo>
                  <a:lnTo>
                    <a:pt x="8" y="0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32" y="16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64" y="24"/>
                  </a:lnTo>
                  <a:lnTo>
                    <a:pt x="64" y="40"/>
                  </a:lnTo>
                  <a:lnTo>
                    <a:pt x="96" y="56"/>
                  </a:lnTo>
                  <a:lnTo>
                    <a:pt x="128" y="48"/>
                  </a:lnTo>
                  <a:lnTo>
                    <a:pt x="128" y="40"/>
                  </a:lnTo>
                  <a:lnTo>
                    <a:pt x="144" y="32"/>
                  </a:lnTo>
                  <a:lnTo>
                    <a:pt x="160" y="24"/>
                  </a:lnTo>
                  <a:lnTo>
                    <a:pt x="224" y="56"/>
                  </a:lnTo>
                  <a:lnTo>
                    <a:pt x="224" y="64"/>
                  </a:lnTo>
                  <a:lnTo>
                    <a:pt x="224" y="80"/>
                  </a:lnTo>
                  <a:lnTo>
                    <a:pt x="216" y="88"/>
                  </a:lnTo>
                  <a:lnTo>
                    <a:pt x="216" y="96"/>
                  </a:lnTo>
                  <a:lnTo>
                    <a:pt x="224" y="128"/>
                  </a:lnTo>
                  <a:lnTo>
                    <a:pt x="240" y="128"/>
                  </a:lnTo>
                  <a:lnTo>
                    <a:pt x="240" y="136"/>
                  </a:lnTo>
                  <a:lnTo>
                    <a:pt x="232" y="152"/>
                  </a:lnTo>
                  <a:lnTo>
                    <a:pt x="248" y="176"/>
                  </a:lnTo>
                  <a:lnTo>
                    <a:pt x="256" y="176"/>
                  </a:lnTo>
                  <a:lnTo>
                    <a:pt x="264" y="192"/>
                  </a:lnTo>
                  <a:lnTo>
                    <a:pt x="264" y="200"/>
                  </a:lnTo>
                  <a:lnTo>
                    <a:pt x="248" y="208"/>
                  </a:lnTo>
                  <a:lnTo>
                    <a:pt x="248" y="224"/>
                  </a:lnTo>
                  <a:lnTo>
                    <a:pt x="192" y="2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65">
              <a:extLst>
                <a:ext uri="{FF2B5EF4-FFF2-40B4-BE49-F238E27FC236}">
                  <a16:creationId xmlns:a16="http://schemas.microsoft.com/office/drawing/2014/main" id="{D20B4FCF-2D97-4929-8B00-63DFD9588E21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8312290" y="2901481"/>
              <a:ext cx="544658" cy="477922"/>
            </a:xfrm>
            <a:custGeom>
              <a:avLst/>
              <a:gdLst>
                <a:gd name="T0" fmla="*/ 241808 w 200"/>
                <a:gd name="T1" fmla="*/ 353568 h 200"/>
                <a:gd name="T2" fmla="*/ 293624 w 200"/>
                <a:gd name="T3" fmla="*/ 353568 h 200"/>
                <a:gd name="T4" fmla="*/ 293624 w 200"/>
                <a:gd name="T5" fmla="*/ 338836 h 200"/>
                <a:gd name="T6" fmla="*/ 293624 w 200"/>
                <a:gd name="T7" fmla="*/ 309372 h 200"/>
                <a:gd name="T8" fmla="*/ 276352 w 200"/>
                <a:gd name="T9" fmla="*/ 309372 h 200"/>
                <a:gd name="T10" fmla="*/ 276352 w 200"/>
                <a:gd name="T11" fmla="*/ 294640 h 200"/>
                <a:gd name="T12" fmla="*/ 259080 w 200"/>
                <a:gd name="T13" fmla="*/ 279908 h 200"/>
                <a:gd name="T14" fmla="*/ 259080 w 200"/>
                <a:gd name="T15" fmla="*/ 265176 h 200"/>
                <a:gd name="T16" fmla="*/ 276352 w 200"/>
                <a:gd name="T17" fmla="*/ 250444 h 200"/>
                <a:gd name="T18" fmla="*/ 293624 w 200"/>
                <a:gd name="T19" fmla="*/ 250444 h 200"/>
                <a:gd name="T20" fmla="*/ 310896 w 200"/>
                <a:gd name="T21" fmla="*/ 250444 h 200"/>
                <a:gd name="T22" fmla="*/ 379984 w 200"/>
                <a:gd name="T23" fmla="*/ 162052 h 200"/>
                <a:gd name="T24" fmla="*/ 362712 w 200"/>
                <a:gd name="T25" fmla="*/ 132588 h 200"/>
                <a:gd name="T26" fmla="*/ 379984 w 200"/>
                <a:gd name="T27" fmla="*/ 132588 h 200"/>
                <a:gd name="T28" fmla="*/ 345440 w 200"/>
                <a:gd name="T29" fmla="*/ 103124 h 200"/>
                <a:gd name="T30" fmla="*/ 345440 w 200"/>
                <a:gd name="T31" fmla="*/ 73660 h 200"/>
                <a:gd name="T32" fmla="*/ 328168 w 200"/>
                <a:gd name="T33" fmla="*/ 58928 h 200"/>
                <a:gd name="T34" fmla="*/ 379984 w 200"/>
                <a:gd name="T35" fmla="*/ 58928 h 200"/>
                <a:gd name="T36" fmla="*/ 414528 w 200"/>
                <a:gd name="T37" fmla="*/ 58928 h 200"/>
                <a:gd name="T38" fmla="*/ 431800 w 200"/>
                <a:gd name="T39" fmla="*/ 44196 h 200"/>
                <a:gd name="T40" fmla="*/ 379984 w 200"/>
                <a:gd name="T41" fmla="*/ 29464 h 200"/>
                <a:gd name="T42" fmla="*/ 362712 w 200"/>
                <a:gd name="T43" fmla="*/ 0 h 200"/>
                <a:gd name="T44" fmla="*/ 328168 w 200"/>
                <a:gd name="T45" fmla="*/ 0 h 200"/>
                <a:gd name="T46" fmla="*/ 310896 w 200"/>
                <a:gd name="T47" fmla="*/ 0 h 200"/>
                <a:gd name="T48" fmla="*/ 293624 w 200"/>
                <a:gd name="T49" fmla="*/ 0 h 200"/>
                <a:gd name="T50" fmla="*/ 259080 w 200"/>
                <a:gd name="T51" fmla="*/ 14732 h 200"/>
                <a:gd name="T52" fmla="*/ 259080 w 200"/>
                <a:gd name="T53" fmla="*/ 58928 h 200"/>
                <a:gd name="T54" fmla="*/ 259080 w 200"/>
                <a:gd name="T55" fmla="*/ 73660 h 200"/>
                <a:gd name="T56" fmla="*/ 224536 w 200"/>
                <a:gd name="T57" fmla="*/ 73660 h 200"/>
                <a:gd name="T58" fmla="*/ 241808 w 200"/>
                <a:gd name="T59" fmla="*/ 88392 h 200"/>
                <a:gd name="T60" fmla="*/ 224536 w 200"/>
                <a:gd name="T61" fmla="*/ 103124 h 200"/>
                <a:gd name="T62" fmla="*/ 224536 w 200"/>
                <a:gd name="T63" fmla="*/ 147320 h 200"/>
                <a:gd name="T64" fmla="*/ 155448 w 200"/>
                <a:gd name="T65" fmla="*/ 162052 h 200"/>
                <a:gd name="T66" fmla="*/ 155448 w 200"/>
                <a:gd name="T67" fmla="*/ 191516 h 200"/>
                <a:gd name="T68" fmla="*/ 34544 w 200"/>
                <a:gd name="T69" fmla="*/ 206248 h 200"/>
                <a:gd name="T70" fmla="*/ 0 w 200"/>
                <a:gd name="T71" fmla="*/ 191516 h 200"/>
                <a:gd name="T72" fmla="*/ 34544 w 200"/>
                <a:gd name="T73" fmla="*/ 235712 h 200"/>
                <a:gd name="T74" fmla="*/ 51816 w 200"/>
                <a:gd name="T75" fmla="*/ 235712 h 200"/>
                <a:gd name="T76" fmla="*/ 69088 w 200"/>
                <a:gd name="T77" fmla="*/ 265176 h 200"/>
                <a:gd name="T78" fmla="*/ 69088 w 200"/>
                <a:gd name="T79" fmla="*/ 279908 h 200"/>
                <a:gd name="T80" fmla="*/ 34544 w 200"/>
                <a:gd name="T81" fmla="*/ 294640 h 200"/>
                <a:gd name="T82" fmla="*/ 34544 w 200"/>
                <a:gd name="T83" fmla="*/ 324104 h 200"/>
                <a:gd name="T84" fmla="*/ 103632 w 200"/>
                <a:gd name="T85" fmla="*/ 324104 h 200"/>
                <a:gd name="T86" fmla="*/ 120904 w 200"/>
                <a:gd name="T87" fmla="*/ 324104 h 200"/>
                <a:gd name="T88" fmla="*/ 172720 w 200"/>
                <a:gd name="T89" fmla="*/ 324104 h 200"/>
                <a:gd name="T90" fmla="*/ 207264 w 200"/>
                <a:gd name="T91" fmla="*/ 368300 h 200"/>
                <a:gd name="T92" fmla="*/ 224536 w 200"/>
                <a:gd name="T93" fmla="*/ 368300 h 200"/>
                <a:gd name="T94" fmla="*/ 241808 w 200"/>
                <a:gd name="T95" fmla="*/ 353568 h 2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0"/>
                <a:gd name="T145" fmla="*/ 0 h 200"/>
                <a:gd name="T146" fmla="*/ 200 w 200"/>
                <a:gd name="T147" fmla="*/ 200 h 2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0" h="200">
                  <a:moveTo>
                    <a:pt x="112" y="192"/>
                  </a:moveTo>
                  <a:lnTo>
                    <a:pt x="136" y="192"/>
                  </a:lnTo>
                  <a:lnTo>
                    <a:pt x="136" y="184"/>
                  </a:lnTo>
                  <a:lnTo>
                    <a:pt x="136" y="168"/>
                  </a:lnTo>
                  <a:lnTo>
                    <a:pt x="128" y="168"/>
                  </a:lnTo>
                  <a:lnTo>
                    <a:pt x="128" y="160"/>
                  </a:lnTo>
                  <a:lnTo>
                    <a:pt x="120" y="152"/>
                  </a:lnTo>
                  <a:lnTo>
                    <a:pt x="120" y="144"/>
                  </a:lnTo>
                  <a:lnTo>
                    <a:pt x="128" y="136"/>
                  </a:lnTo>
                  <a:lnTo>
                    <a:pt x="136" y="136"/>
                  </a:lnTo>
                  <a:lnTo>
                    <a:pt x="144" y="136"/>
                  </a:lnTo>
                  <a:lnTo>
                    <a:pt x="176" y="88"/>
                  </a:lnTo>
                  <a:lnTo>
                    <a:pt x="168" y="72"/>
                  </a:lnTo>
                  <a:lnTo>
                    <a:pt x="176" y="72"/>
                  </a:lnTo>
                  <a:lnTo>
                    <a:pt x="160" y="56"/>
                  </a:lnTo>
                  <a:lnTo>
                    <a:pt x="160" y="40"/>
                  </a:lnTo>
                  <a:lnTo>
                    <a:pt x="152" y="32"/>
                  </a:lnTo>
                  <a:lnTo>
                    <a:pt x="176" y="32"/>
                  </a:lnTo>
                  <a:lnTo>
                    <a:pt x="192" y="32"/>
                  </a:lnTo>
                  <a:lnTo>
                    <a:pt x="200" y="24"/>
                  </a:lnTo>
                  <a:lnTo>
                    <a:pt x="176" y="16"/>
                  </a:lnTo>
                  <a:lnTo>
                    <a:pt x="168" y="0"/>
                  </a:lnTo>
                  <a:lnTo>
                    <a:pt x="152" y="0"/>
                  </a:lnTo>
                  <a:lnTo>
                    <a:pt x="144" y="0"/>
                  </a:lnTo>
                  <a:lnTo>
                    <a:pt x="136" y="0"/>
                  </a:lnTo>
                  <a:lnTo>
                    <a:pt x="120" y="8"/>
                  </a:lnTo>
                  <a:lnTo>
                    <a:pt x="120" y="32"/>
                  </a:lnTo>
                  <a:lnTo>
                    <a:pt x="120" y="40"/>
                  </a:lnTo>
                  <a:lnTo>
                    <a:pt x="104" y="40"/>
                  </a:lnTo>
                  <a:lnTo>
                    <a:pt x="112" y="48"/>
                  </a:lnTo>
                  <a:lnTo>
                    <a:pt x="104" y="56"/>
                  </a:lnTo>
                  <a:lnTo>
                    <a:pt x="104" y="80"/>
                  </a:lnTo>
                  <a:lnTo>
                    <a:pt x="72" y="88"/>
                  </a:lnTo>
                  <a:lnTo>
                    <a:pt x="72" y="104"/>
                  </a:lnTo>
                  <a:lnTo>
                    <a:pt x="16" y="112"/>
                  </a:lnTo>
                  <a:lnTo>
                    <a:pt x="0" y="104"/>
                  </a:lnTo>
                  <a:lnTo>
                    <a:pt x="16" y="128"/>
                  </a:lnTo>
                  <a:lnTo>
                    <a:pt x="24" y="128"/>
                  </a:lnTo>
                  <a:lnTo>
                    <a:pt x="32" y="144"/>
                  </a:lnTo>
                  <a:lnTo>
                    <a:pt x="32" y="152"/>
                  </a:lnTo>
                  <a:lnTo>
                    <a:pt x="16" y="160"/>
                  </a:lnTo>
                  <a:lnTo>
                    <a:pt x="16" y="176"/>
                  </a:lnTo>
                  <a:lnTo>
                    <a:pt x="48" y="176"/>
                  </a:lnTo>
                  <a:lnTo>
                    <a:pt x="56" y="176"/>
                  </a:lnTo>
                  <a:lnTo>
                    <a:pt x="80" y="176"/>
                  </a:lnTo>
                  <a:lnTo>
                    <a:pt x="96" y="200"/>
                  </a:lnTo>
                  <a:lnTo>
                    <a:pt x="104" y="200"/>
                  </a:lnTo>
                  <a:lnTo>
                    <a:pt x="112" y="19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66">
              <a:extLst>
                <a:ext uri="{FF2B5EF4-FFF2-40B4-BE49-F238E27FC236}">
                  <a16:creationId xmlns:a16="http://schemas.microsoft.com/office/drawing/2014/main" id="{BE381D85-679A-41F7-BBD4-6F25CE9E65D6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8268237" y="2843800"/>
              <a:ext cx="458555" cy="325481"/>
            </a:xfrm>
            <a:custGeom>
              <a:avLst/>
              <a:gdLst>
                <a:gd name="T0" fmla="*/ 138491 w 168"/>
                <a:gd name="T1" fmla="*/ 29509 h 136"/>
                <a:gd name="T2" fmla="*/ 173113 w 168"/>
                <a:gd name="T3" fmla="*/ 44263 h 136"/>
                <a:gd name="T4" fmla="*/ 190425 w 168"/>
                <a:gd name="T5" fmla="*/ 44263 h 136"/>
                <a:gd name="T6" fmla="*/ 225047 w 168"/>
                <a:gd name="T7" fmla="*/ 29509 h 136"/>
                <a:gd name="T8" fmla="*/ 242359 w 168"/>
                <a:gd name="T9" fmla="*/ 29509 h 136"/>
                <a:gd name="T10" fmla="*/ 259670 w 168"/>
                <a:gd name="T11" fmla="*/ 0 h 136"/>
                <a:gd name="T12" fmla="*/ 276981 w 168"/>
                <a:gd name="T13" fmla="*/ 14754 h 136"/>
                <a:gd name="T14" fmla="*/ 294293 w 168"/>
                <a:gd name="T15" fmla="*/ 44263 h 136"/>
                <a:gd name="T16" fmla="*/ 328915 w 168"/>
                <a:gd name="T17" fmla="*/ 29509 h 136"/>
                <a:gd name="T18" fmla="*/ 363538 w 168"/>
                <a:gd name="T19" fmla="*/ 29509 h 136"/>
                <a:gd name="T20" fmla="*/ 363538 w 168"/>
                <a:gd name="T21" fmla="*/ 44263 h 136"/>
                <a:gd name="T22" fmla="*/ 346227 w 168"/>
                <a:gd name="T23" fmla="*/ 44263 h 136"/>
                <a:gd name="T24" fmla="*/ 328915 w 168"/>
                <a:gd name="T25" fmla="*/ 44263 h 136"/>
                <a:gd name="T26" fmla="*/ 294293 w 168"/>
                <a:gd name="T27" fmla="*/ 59018 h 136"/>
                <a:gd name="T28" fmla="*/ 294293 w 168"/>
                <a:gd name="T29" fmla="*/ 103281 h 136"/>
                <a:gd name="T30" fmla="*/ 294293 w 168"/>
                <a:gd name="T31" fmla="*/ 118035 h 136"/>
                <a:gd name="T32" fmla="*/ 259670 w 168"/>
                <a:gd name="T33" fmla="*/ 118035 h 136"/>
                <a:gd name="T34" fmla="*/ 276981 w 168"/>
                <a:gd name="T35" fmla="*/ 132790 h 136"/>
                <a:gd name="T36" fmla="*/ 259670 w 168"/>
                <a:gd name="T37" fmla="*/ 147544 h 136"/>
                <a:gd name="T38" fmla="*/ 259670 w 168"/>
                <a:gd name="T39" fmla="*/ 191807 h 136"/>
                <a:gd name="T40" fmla="*/ 190425 w 168"/>
                <a:gd name="T41" fmla="*/ 206562 h 136"/>
                <a:gd name="T42" fmla="*/ 190425 w 168"/>
                <a:gd name="T43" fmla="*/ 236071 h 136"/>
                <a:gd name="T44" fmla="*/ 69245 w 168"/>
                <a:gd name="T45" fmla="*/ 250825 h 136"/>
                <a:gd name="T46" fmla="*/ 34623 w 168"/>
                <a:gd name="T47" fmla="*/ 236071 h 136"/>
                <a:gd name="T48" fmla="*/ 51934 w 168"/>
                <a:gd name="T49" fmla="*/ 206562 h 136"/>
                <a:gd name="T50" fmla="*/ 51934 w 168"/>
                <a:gd name="T51" fmla="*/ 191807 h 136"/>
                <a:gd name="T52" fmla="*/ 17311 w 168"/>
                <a:gd name="T53" fmla="*/ 191807 h 136"/>
                <a:gd name="T54" fmla="*/ 0 w 168"/>
                <a:gd name="T55" fmla="*/ 132790 h 136"/>
                <a:gd name="T56" fmla="*/ 0 w 168"/>
                <a:gd name="T57" fmla="*/ 118035 h 136"/>
                <a:gd name="T58" fmla="*/ 17311 w 168"/>
                <a:gd name="T59" fmla="*/ 103281 h 136"/>
                <a:gd name="T60" fmla="*/ 17311 w 168"/>
                <a:gd name="T61" fmla="*/ 73772 h 136"/>
                <a:gd name="T62" fmla="*/ 51934 w 168"/>
                <a:gd name="T63" fmla="*/ 88526 h 136"/>
                <a:gd name="T64" fmla="*/ 69245 w 168"/>
                <a:gd name="T65" fmla="*/ 73772 h 136"/>
                <a:gd name="T66" fmla="*/ 103868 w 168"/>
                <a:gd name="T67" fmla="*/ 59018 h 136"/>
                <a:gd name="T68" fmla="*/ 103868 w 168"/>
                <a:gd name="T69" fmla="*/ 29509 h 136"/>
                <a:gd name="T70" fmla="*/ 121179 w 168"/>
                <a:gd name="T71" fmla="*/ 29509 h 136"/>
                <a:gd name="T72" fmla="*/ 138491 w 168"/>
                <a:gd name="T73" fmla="*/ 29509 h 1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8"/>
                <a:gd name="T112" fmla="*/ 0 h 136"/>
                <a:gd name="T113" fmla="*/ 168 w 168"/>
                <a:gd name="T114" fmla="*/ 136 h 1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8" h="136">
                  <a:moveTo>
                    <a:pt x="64" y="16"/>
                  </a:moveTo>
                  <a:lnTo>
                    <a:pt x="80" y="24"/>
                  </a:lnTo>
                  <a:lnTo>
                    <a:pt x="88" y="24"/>
                  </a:lnTo>
                  <a:lnTo>
                    <a:pt x="104" y="16"/>
                  </a:lnTo>
                  <a:lnTo>
                    <a:pt x="112" y="16"/>
                  </a:lnTo>
                  <a:lnTo>
                    <a:pt x="120" y="0"/>
                  </a:lnTo>
                  <a:lnTo>
                    <a:pt x="128" y="8"/>
                  </a:lnTo>
                  <a:lnTo>
                    <a:pt x="136" y="24"/>
                  </a:lnTo>
                  <a:lnTo>
                    <a:pt x="152" y="16"/>
                  </a:lnTo>
                  <a:lnTo>
                    <a:pt x="168" y="16"/>
                  </a:lnTo>
                  <a:lnTo>
                    <a:pt x="168" y="24"/>
                  </a:lnTo>
                  <a:lnTo>
                    <a:pt x="160" y="24"/>
                  </a:lnTo>
                  <a:lnTo>
                    <a:pt x="152" y="24"/>
                  </a:lnTo>
                  <a:lnTo>
                    <a:pt x="136" y="32"/>
                  </a:lnTo>
                  <a:lnTo>
                    <a:pt x="136" y="56"/>
                  </a:lnTo>
                  <a:lnTo>
                    <a:pt x="136" y="64"/>
                  </a:lnTo>
                  <a:lnTo>
                    <a:pt x="120" y="64"/>
                  </a:lnTo>
                  <a:lnTo>
                    <a:pt x="128" y="72"/>
                  </a:lnTo>
                  <a:lnTo>
                    <a:pt x="120" y="80"/>
                  </a:lnTo>
                  <a:lnTo>
                    <a:pt x="120" y="104"/>
                  </a:lnTo>
                  <a:lnTo>
                    <a:pt x="88" y="112"/>
                  </a:lnTo>
                  <a:lnTo>
                    <a:pt x="88" y="128"/>
                  </a:lnTo>
                  <a:lnTo>
                    <a:pt x="32" y="136"/>
                  </a:lnTo>
                  <a:lnTo>
                    <a:pt x="16" y="128"/>
                  </a:lnTo>
                  <a:lnTo>
                    <a:pt x="24" y="112"/>
                  </a:lnTo>
                  <a:lnTo>
                    <a:pt x="24" y="104"/>
                  </a:lnTo>
                  <a:lnTo>
                    <a:pt x="8" y="104"/>
                  </a:lnTo>
                  <a:lnTo>
                    <a:pt x="0" y="72"/>
                  </a:lnTo>
                  <a:lnTo>
                    <a:pt x="0" y="64"/>
                  </a:lnTo>
                  <a:lnTo>
                    <a:pt x="8" y="56"/>
                  </a:lnTo>
                  <a:lnTo>
                    <a:pt x="8" y="40"/>
                  </a:lnTo>
                  <a:lnTo>
                    <a:pt x="24" y="48"/>
                  </a:lnTo>
                  <a:lnTo>
                    <a:pt x="32" y="40"/>
                  </a:lnTo>
                  <a:lnTo>
                    <a:pt x="48" y="32"/>
                  </a:lnTo>
                  <a:lnTo>
                    <a:pt x="48" y="16"/>
                  </a:lnTo>
                  <a:lnTo>
                    <a:pt x="56" y="16"/>
                  </a:lnTo>
                  <a:lnTo>
                    <a:pt x="64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67">
              <a:extLst>
                <a:ext uri="{FF2B5EF4-FFF2-40B4-BE49-F238E27FC236}">
                  <a16:creationId xmlns:a16="http://schemas.microsoft.com/office/drawing/2014/main" id="{20FE0FE8-039E-4C99-9EA8-CC6C7ADD5F5A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10360767" y="2691360"/>
              <a:ext cx="176213" cy="170981"/>
            </a:xfrm>
            <a:custGeom>
              <a:avLst/>
              <a:gdLst>
                <a:gd name="T0" fmla="*/ 104775 w 64"/>
                <a:gd name="T1" fmla="*/ 0 h 72"/>
                <a:gd name="T2" fmla="*/ 104775 w 64"/>
                <a:gd name="T3" fmla="*/ 14640 h 72"/>
                <a:gd name="T4" fmla="*/ 87312 w 64"/>
                <a:gd name="T5" fmla="*/ 29281 h 72"/>
                <a:gd name="T6" fmla="*/ 87312 w 64"/>
                <a:gd name="T7" fmla="*/ 43921 h 72"/>
                <a:gd name="T8" fmla="*/ 52387 w 64"/>
                <a:gd name="T9" fmla="*/ 29281 h 72"/>
                <a:gd name="T10" fmla="*/ 0 w 64"/>
                <a:gd name="T11" fmla="*/ 87842 h 72"/>
                <a:gd name="T12" fmla="*/ 52387 w 64"/>
                <a:gd name="T13" fmla="*/ 87842 h 72"/>
                <a:gd name="T14" fmla="*/ 52387 w 64"/>
                <a:gd name="T15" fmla="*/ 131763 h 72"/>
                <a:gd name="T16" fmla="*/ 104775 w 64"/>
                <a:gd name="T17" fmla="*/ 131763 h 72"/>
                <a:gd name="T18" fmla="*/ 122237 w 64"/>
                <a:gd name="T19" fmla="*/ 131763 h 72"/>
                <a:gd name="T20" fmla="*/ 139700 w 64"/>
                <a:gd name="T21" fmla="*/ 117123 h 72"/>
                <a:gd name="T22" fmla="*/ 104775 w 64"/>
                <a:gd name="T23" fmla="*/ 102482 h 72"/>
                <a:gd name="T24" fmla="*/ 87312 w 64"/>
                <a:gd name="T25" fmla="*/ 73202 h 72"/>
                <a:gd name="T26" fmla="*/ 139700 w 64"/>
                <a:gd name="T27" fmla="*/ 58561 h 72"/>
                <a:gd name="T28" fmla="*/ 122237 w 64"/>
                <a:gd name="T29" fmla="*/ 29281 h 72"/>
                <a:gd name="T30" fmla="*/ 139700 w 64"/>
                <a:gd name="T31" fmla="*/ 0 h 72"/>
                <a:gd name="T32" fmla="*/ 104775 w 64"/>
                <a:gd name="T33" fmla="*/ 0 h 7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"/>
                <a:gd name="T52" fmla="*/ 0 h 72"/>
                <a:gd name="T53" fmla="*/ 64 w 64"/>
                <a:gd name="T54" fmla="*/ 72 h 7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" h="72">
                  <a:moveTo>
                    <a:pt x="48" y="0"/>
                  </a:moveTo>
                  <a:lnTo>
                    <a:pt x="48" y="8"/>
                  </a:lnTo>
                  <a:lnTo>
                    <a:pt x="40" y="16"/>
                  </a:lnTo>
                  <a:lnTo>
                    <a:pt x="40" y="24"/>
                  </a:lnTo>
                  <a:lnTo>
                    <a:pt x="24" y="16"/>
                  </a:lnTo>
                  <a:lnTo>
                    <a:pt x="0" y="48"/>
                  </a:lnTo>
                  <a:lnTo>
                    <a:pt x="24" y="48"/>
                  </a:lnTo>
                  <a:lnTo>
                    <a:pt x="24" y="72"/>
                  </a:lnTo>
                  <a:lnTo>
                    <a:pt x="48" y="72"/>
                  </a:lnTo>
                  <a:lnTo>
                    <a:pt x="56" y="72"/>
                  </a:lnTo>
                  <a:lnTo>
                    <a:pt x="64" y="64"/>
                  </a:lnTo>
                  <a:lnTo>
                    <a:pt x="48" y="56"/>
                  </a:lnTo>
                  <a:lnTo>
                    <a:pt x="40" y="40"/>
                  </a:lnTo>
                  <a:lnTo>
                    <a:pt x="64" y="32"/>
                  </a:lnTo>
                  <a:lnTo>
                    <a:pt x="56" y="16"/>
                  </a:lnTo>
                  <a:lnTo>
                    <a:pt x="64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68">
              <a:extLst>
                <a:ext uri="{FF2B5EF4-FFF2-40B4-BE49-F238E27FC236}">
                  <a16:creationId xmlns:a16="http://schemas.microsoft.com/office/drawing/2014/main" id="{7D912F8D-0BD8-4FD4-8DA6-62BFB02B38A5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0492927" y="2843800"/>
              <a:ext cx="130158" cy="152441"/>
            </a:xfrm>
            <a:custGeom>
              <a:avLst/>
              <a:gdLst>
                <a:gd name="T0" fmla="*/ 0 w 48"/>
                <a:gd name="T1" fmla="*/ 14684 h 64"/>
                <a:gd name="T2" fmla="*/ 17198 w 48"/>
                <a:gd name="T3" fmla="*/ 14684 h 64"/>
                <a:gd name="T4" fmla="*/ 34396 w 48"/>
                <a:gd name="T5" fmla="*/ 0 h 64"/>
                <a:gd name="T6" fmla="*/ 68792 w 48"/>
                <a:gd name="T7" fmla="*/ 29369 h 64"/>
                <a:gd name="T8" fmla="*/ 103188 w 48"/>
                <a:gd name="T9" fmla="*/ 73422 h 64"/>
                <a:gd name="T10" fmla="*/ 103188 w 48"/>
                <a:gd name="T11" fmla="*/ 88106 h 64"/>
                <a:gd name="T12" fmla="*/ 51594 w 48"/>
                <a:gd name="T13" fmla="*/ 117475 h 64"/>
                <a:gd name="T14" fmla="*/ 17198 w 48"/>
                <a:gd name="T15" fmla="*/ 88106 h 64"/>
                <a:gd name="T16" fmla="*/ 34396 w 48"/>
                <a:gd name="T17" fmla="*/ 73422 h 64"/>
                <a:gd name="T18" fmla="*/ 0 w 48"/>
                <a:gd name="T19" fmla="*/ 44053 h 64"/>
                <a:gd name="T20" fmla="*/ 17198 w 48"/>
                <a:gd name="T21" fmla="*/ 44053 h 64"/>
                <a:gd name="T22" fmla="*/ 0 w 48"/>
                <a:gd name="T23" fmla="*/ 29369 h 64"/>
                <a:gd name="T24" fmla="*/ 0 w 48"/>
                <a:gd name="T25" fmla="*/ 14684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"/>
                <a:gd name="T40" fmla="*/ 0 h 64"/>
                <a:gd name="T41" fmla="*/ 48 w 48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" h="64">
                  <a:moveTo>
                    <a:pt x="0" y="8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48" y="40"/>
                  </a:lnTo>
                  <a:lnTo>
                    <a:pt x="48" y="48"/>
                  </a:lnTo>
                  <a:lnTo>
                    <a:pt x="24" y="64"/>
                  </a:lnTo>
                  <a:lnTo>
                    <a:pt x="8" y="48"/>
                  </a:lnTo>
                  <a:lnTo>
                    <a:pt x="16" y="40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0" y="1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69">
              <a:extLst>
                <a:ext uri="{FF2B5EF4-FFF2-40B4-BE49-F238E27FC236}">
                  <a16:creationId xmlns:a16="http://schemas.microsoft.com/office/drawing/2014/main" id="{CF74D625-0002-4A17-8B78-E7A0EE4BEE4E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9009133" y="2365879"/>
              <a:ext cx="1047266" cy="362561"/>
            </a:xfrm>
            <a:custGeom>
              <a:avLst/>
              <a:gdLst>
                <a:gd name="T0" fmla="*/ 691886 w 384"/>
                <a:gd name="T1" fmla="*/ 73526 h 152"/>
                <a:gd name="T2" fmla="*/ 726480 w 384"/>
                <a:gd name="T3" fmla="*/ 117642 h 152"/>
                <a:gd name="T4" fmla="*/ 761074 w 384"/>
                <a:gd name="T5" fmla="*/ 117642 h 152"/>
                <a:gd name="T6" fmla="*/ 795669 w 384"/>
                <a:gd name="T7" fmla="*/ 102937 h 152"/>
                <a:gd name="T8" fmla="*/ 812966 w 384"/>
                <a:gd name="T9" fmla="*/ 117642 h 152"/>
                <a:gd name="T10" fmla="*/ 830263 w 384"/>
                <a:gd name="T11" fmla="*/ 147053 h 152"/>
                <a:gd name="T12" fmla="*/ 778372 w 384"/>
                <a:gd name="T13" fmla="*/ 147053 h 152"/>
                <a:gd name="T14" fmla="*/ 761074 w 384"/>
                <a:gd name="T15" fmla="*/ 161758 h 152"/>
                <a:gd name="T16" fmla="*/ 743777 w 384"/>
                <a:gd name="T17" fmla="*/ 176463 h 152"/>
                <a:gd name="T18" fmla="*/ 726480 w 384"/>
                <a:gd name="T19" fmla="*/ 191168 h 152"/>
                <a:gd name="T20" fmla="*/ 691886 w 384"/>
                <a:gd name="T21" fmla="*/ 191168 h 152"/>
                <a:gd name="T22" fmla="*/ 674589 w 384"/>
                <a:gd name="T23" fmla="*/ 205874 h 152"/>
                <a:gd name="T24" fmla="*/ 691886 w 384"/>
                <a:gd name="T25" fmla="*/ 220579 h 152"/>
                <a:gd name="T26" fmla="*/ 657292 w 384"/>
                <a:gd name="T27" fmla="*/ 249989 h 152"/>
                <a:gd name="T28" fmla="*/ 605400 w 384"/>
                <a:gd name="T29" fmla="*/ 264695 h 152"/>
                <a:gd name="T30" fmla="*/ 536211 w 384"/>
                <a:gd name="T31" fmla="*/ 279400 h 152"/>
                <a:gd name="T32" fmla="*/ 415132 w 384"/>
                <a:gd name="T33" fmla="*/ 249989 h 152"/>
                <a:gd name="T34" fmla="*/ 311349 w 384"/>
                <a:gd name="T35" fmla="*/ 249989 h 152"/>
                <a:gd name="T36" fmla="*/ 242160 w 384"/>
                <a:gd name="T37" fmla="*/ 205874 h 152"/>
                <a:gd name="T38" fmla="*/ 121080 w 384"/>
                <a:gd name="T39" fmla="*/ 176463 h 152"/>
                <a:gd name="T40" fmla="*/ 103783 w 384"/>
                <a:gd name="T41" fmla="*/ 132347 h 152"/>
                <a:gd name="T42" fmla="*/ 69189 w 384"/>
                <a:gd name="T43" fmla="*/ 117642 h 152"/>
                <a:gd name="T44" fmla="*/ 34594 w 384"/>
                <a:gd name="T45" fmla="*/ 102937 h 152"/>
                <a:gd name="T46" fmla="*/ 0 w 384"/>
                <a:gd name="T47" fmla="*/ 73526 h 152"/>
                <a:gd name="T48" fmla="*/ 86486 w 384"/>
                <a:gd name="T49" fmla="*/ 29411 h 152"/>
                <a:gd name="T50" fmla="*/ 138377 w 384"/>
                <a:gd name="T51" fmla="*/ 44116 h 152"/>
                <a:gd name="T52" fmla="*/ 172971 w 384"/>
                <a:gd name="T53" fmla="*/ 58821 h 152"/>
                <a:gd name="T54" fmla="*/ 242160 w 384"/>
                <a:gd name="T55" fmla="*/ 58821 h 152"/>
                <a:gd name="T56" fmla="*/ 242160 w 384"/>
                <a:gd name="T57" fmla="*/ 29411 h 152"/>
                <a:gd name="T58" fmla="*/ 224863 w 384"/>
                <a:gd name="T59" fmla="*/ 14705 h 152"/>
                <a:gd name="T60" fmla="*/ 242160 w 384"/>
                <a:gd name="T61" fmla="*/ 0 h 152"/>
                <a:gd name="T62" fmla="*/ 311349 w 384"/>
                <a:gd name="T63" fmla="*/ 14705 h 152"/>
                <a:gd name="T64" fmla="*/ 363240 w 384"/>
                <a:gd name="T65" fmla="*/ 44116 h 152"/>
                <a:gd name="T66" fmla="*/ 432429 w 384"/>
                <a:gd name="T67" fmla="*/ 44116 h 152"/>
                <a:gd name="T68" fmla="*/ 553509 w 384"/>
                <a:gd name="T69" fmla="*/ 73526 h 152"/>
                <a:gd name="T70" fmla="*/ 622697 w 384"/>
                <a:gd name="T71" fmla="*/ 58821 h 152"/>
                <a:gd name="T72" fmla="*/ 657292 w 384"/>
                <a:gd name="T73" fmla="*/ 44116 h 152"/>
                <a:gd name="T74" fmla="*/ 709183 w 384"/>
                <a:gd name="T75" fmla="*/ 58821 h 152"/>
                <a:gd name="T76" fmla="*/ 691886 w 384"/>
                <a:gd name="T77" fmla="*/ 73526 h 15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84"/>
                <a:gd name="T118" fmla="*/ 0 h 152"/>
                <a:gd name="T119" fmla="*/ 384 w 384"/>
                <a:gd name="T120" fmla="*/ 152 h 15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84" h="152">
                  <a:moveTo>
                    <a:pt x="320" y="40"/>
                  </a:moveTo>
                  <a:lnTo>
                    <a:pt x="336" y="64"/>
                  </a:lnTo>
                  <a:lnTo>
                    <a:pt x="352" y="64"/>
                  </a:lnTo>
                  <a:lnTo>
                    <a:pt x="368" y="56"/>
                  </a:lnTo>
                  <a:lnTo>
                    <a:pt x="376" y="64"/>
                  </a:lnTo>
                  <a:lnTo>
                    <a:pt x="384" y="80"/>
                  </a:lnTo>
                  <a:lnTo>
                    <a:pt x="360" y="80"/>
                  </a:lnTo>
                  <a:lnTo>
                    <a:pt x="352" y="88"/>
                  </a:lnTo>
                  <a:lnTo>
                    <a:pt x="344" y="96"/>
                  </a:lnTo>
                  <a:lnTo>
                    <a:pt x="336" y="104"/>
                  </a:lnTo>
                  <a:lnTo>
                    <a:pt x="320" y="104"/>
                  </a:lnTo>
                  <a:lnTo>
                    <a:pt x="312" y="112"/>
                  </a:lnTo>
                  <a:lnTo>
                    <a:pt x="320" y="120"/>
                  </a:lnTo>
                  <a:lnTo>
                    <a:pt x="304" y="136"/>
                  </a:lnTo>
                  <a:lnTo>
                    <a:pt x="280" y="144"/>
                  </a:lnTo>
                  <a:lnTo>
                    <a:pt x="248" y="152"/>
                  </a:lnTo>
                  <a:lnTo>
                    <a:pt x="192" y="136"/>
                  </a:lnTo>
                  <a:lnTo>
                    <a:pt x="144" y="136"/>
                  </a:lnTo>
                  <a:lnTo>
                    <a:pt x="112" y="112"/>
                  </a:lnTo>
                  <a:lnTo>
                    <a:pt x="56" y="96"/>
                  </a:lnTo>
                  <a:lnTo>
                    <a:pt x="48" y="72"/>
                  </a:lnTo>
                  <a:lnTo>
                    <a:pt x="32" y="64"/>
                  </a:lnTo>
                  <a:lnTo>
                    <a:pt x="16" y="56"/>
                  </a:lnTo>
                  <a:lnTo>
                    <a:pt x="0" y="40"/>
                  </a:lnTo>
                  <a:lnTo>
                    <a:pt x="40" y="16"/>
                  </a:lnTo>
                  <a:lnTo>
                    <a:pt x="64" y="24"/>
                  </a:lnTo>
                  <a:lnTo>
                    <a:pt x="80" y="32"/>
                  </a:lnTo>
                  <a:lnTo>
                    <a:pt x="112" y="32"/>
                  </a:lnTo>
                  <a:lnTo>
                    <a:pt x="112" y="16"/>
                  </a:lnTo>
                  <a:lnTo>
                    <a:pt x="104" y="8"/>
                  </a:lnTo>
                  <a:lnTo>
                    <a:pt x="112" y="0"/>
                  </a:lnTo>
                  <a:lnTo>
                    <a:pt x="144" y="8"/>
                  </a:lnTo>
                  <a:lnTo>
                    <a:pt x="168" y="24"/>
                  </a:lnTo>
                  <a:lnTo>
                    <a:pt x="200" y="24"/>
                  </a:lnTo>
                  <a:lnTo>
                    <a:pt x="256" y="40"/>
                  </a:lnTo>
                  <a:lnTo>
                    <a:pt x="288" y="32"/>
                  </a:lnTo>
                  <a:lnTo>
                    <a:pt x="304" y="24"/>
                  </a:lnTo>
                  <a:lnTo>
                    <a:pt x="328" y="32"/>
                  </a:lnTo>
                  <a:lnTo>
                    <a:pt x="320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70">
              <a:extLst>
                <a:ext uri="{FF2B5EF4-FFF2-40B4-BE49-F238E27FC236}">
                  <a16:creationId xmlns:a16="http://schemas.microsoft.com/office/drawing/2014/main" id="{957EDE42-FE11-4000-AC47-3DEF9467A013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7068788" y="2709899"/>
              <a:ext cx="652789" cy="228661"/>
            </a:xfrm>
            <a:custGeom>
              <a:avLst/>
              <a:gdLst>
                <a:gd name="T0" fmla="*/ 448522 w 240"/>
                <a:gd name="T1" fmla="*/ 29369 h 96"/>
                <a:gd name="T2" fmla="*/ 448522 w 240"/>
                <a:gd name="T3" fmla="*/ 14684 h 96"/>
                <a:gd name="T4" fmla="*/ 414020 w 240"/>
                <a:gd name="T5" fmla="*/ 14684 h 96"/>
                <a:gd name="T6" fmla="*/ 362268 w 240"/>
                <a:gd name="T7" fmla="*/ 29369 h 96"/>
                <a:gd name="T8" fmla="*/ 293264 w 240"/>
                <a:gd name="T9" fmla="*/ 29369 h 96"/>
                <a:gd name="T10" fmla="*/ 224261 w 240"/>
                <a:gd name="T11" fmla="*/ 0 h 96"/>
                <a:gd name="T12" fmla="*/ 189759 w 240"/>
                <a:gd name="T13" fmla="*/ 0 h 96"/>
                <a:gd name="T14" fmla="*/ 138007 w 240"/>
                <a:gd name="T15" fmla="*/ 29369 h 96"/>
                <a:gd name="T16" fmla="*/ 103505 w 240"/>
                <a:gd name="T17" fmla="*/ 29369 h 96"/>
                <a:gd name="T18" fmla="*/ 69003 w 240"/>
                <a:gd name="T19" fmla="*/ 29369 h 96"/>
                <a:gd name="T20" fmla="*/ 51753 w 240"/>
                <a:gd name="T21" fmla="*/ 14684 h 96"/>
                <a:gd name="T22" fmla="*/ 0 w 240"/>
                <a:gd name="T23" fmla="*/ 14684 h 96"/>
                <a:gd name="T24" fmla="*/ 0 w 240"/>
                <a:gd name="T25" fmla="*/ 44053 h 96"/>
                <a:gd name="T26" fmla="*/ 17251 w 240"/>
                <a:gd name="T27" fmla="*/ 44053 h 96"/>
                <a:gd name="T28" fmla="*/ 0 w 240"/>
                <a:gd name="T29" fmla="*/ 58738 h 96"/>
                <a:gd name="T30" fmla="*/ 34502 w 240"/>
                <a:gd name="T31" fmla="*/ 29369 h 96"/>
                <a:gd name="T32" fmla="*/ 69003 w 240"/>
                <a:gd name="T33" fmla="*/ 29369 h 96"/>
                <a:gd name="T34" fmla="*/ 86254 w 240"/>
                <a:gd name="T35" fmla="*/ 44053 h 96"/>
                <a:gd name="T36" fmla="*/ 69003 w 240"/>
                <a:gd name="T37" fmla="*/ 44053 h 96"/>
                <a:gd name="T38" fmla="*/ 86254 w 240"/>
                <a:gd name="T39" fmla="*/ 58738 h 96"/>
                <a:gd name="T40" fmla="*/ 17251 w 240"/>
                <a:gd name="T41" fmla="*/ 58738 h 96"/>
                <a:gd name="T42" fmla="*/ 0 w 240"/>
                <a:gd name="T43" fmla="*/ 58738 h 96"/>
                <a:gd name="T44" fmla="*/ 0 w 240"/>
                <a:gd name="T45" fmla="*/ 73422 h 96"/>
                <a:gd name="T46" fmla="*/ 17251 w 240"/>
                <a:gd name="T47" fmla="*/ 73422 h 96"/>
                <a:gd name="T48" fmla="*/ 34502 w 240"/>
                <a:gd name="T49" fmla="*/ 102791 h 96"/>
                <a:gd name="T50" fmla="*/ 17251 w 240"/>
                <a:gd name="T51" fmla="*/ 102791 h 96"/>
                <a:gd name="T52" fmla="*/ 34502 w 240"/>
                <a:gd name="T53" fmla="*/ 117475 h 96"/>
                <a:gd name="T54" fmla="*/ 34502 w 240"/>
                <a:gd name="T55" fmla="*/ 132160 h 96"/>
                <a:gd name="T56" fmla="*/ 51753 w 240"/>
                <a:gd name="T57" fmla="*/ 132160 h 96"/>
                <a:gd name="T58" fmla="*/ 34502 w 240"/>
                <a:gd name="T59" fmla="*/ 146844 h 96"/>
                <a:gd name="T60" fmla="*/ 69003 w 240"/>
                <a:gd name="T61" fmla="*/ 146844 h 96"/>
                <a:gd name="T62" fmla="*/ 51753 w 240"/>
                <a:gd name="T63" fmla="*/ 146844 h 96"/>
                <a:gd name="T64" fmla="*/ 103505 w 240"/>
                <a:gd name="T65" fmla="*/ 161529 h 96"/>
                <a:gd name="T66" fmla="*/ 120756 w 240"/>
                <a:gd name="T67" fmla="*/ 161529 h 96"/>
                <a:gd name="T68" fmla="*/ 138007 w 240"/>
                <a:gd name="T69" fmla="*/ 146844 h 96"/>
                <a:gd name="T70" fmla="*/ 155258 w 240"/>
                <a:gd name="T71" fmla="*/ 146844 h 96"/>
                <a:gd name="T72" fmla="*/ 189759 w 240"/>
                <a:gd name="T73" fmla="*/ 176213 h 96"/>
                <a:gd name="T74" fmla="*/ 207010 w 240"/>
                <a:gd name="T75" fmla="*/ 161529 h 96"/>
                <a:gd name="T76" fmla="*/ 241512 w 240"/>
                <a:gd name="T77" fmla="*/ 146844 h 96"/>
                <a:gd name="T78" fmla="*/ 258762 w 240"/>
                <a:gd name="T79" fmla="*/ 161529 h 96"/>
                <a:gd name="T80" fmla="*/ 276013 w 240"/>
                <a:gd name="T81" fmla="*/ 146844 h 96"/>
                <a:gd name="T82" fmla="*/ 276013 w 240"/>
                <a:gd name="T83" fmla="*/ 176213 h 96"/>
                <a:gd name="T84" fmla="*/ 293264 w 240"/>
                <a:gd name="T85" fmla="*/ 161529 h 96"/>
                <a:gd name="T86" fmla="*/ 293264 w 240"/>
                <a:gd name="T87" fmla="*/ 146844 h 96"/>
                <a:gd name="T88" fmla="*/ 345017 w 240"/>
                <a:gd name="T89" fmla="*/ 146844 h 96"/>
                <a:gd name="T90" fmla="*/ 362268 w 240"/>
                <a:gd name="T91" fmla="*/ 146844 h 96"/>
                <a:gd name="T92" fmla="*/ 396769 w 240"/>
                <a:gd name="T93" fmla="*/ 146844 h 96"/>
                <a:gd name="T94" fmla="*/ 448522 w 240"/>
                <a:gd name="T95" fmla="*/ 132160 h 96"/>
                <a:gd name="T96" fmla="*/ 465773 w 240"/>
                <a:gd name="T97" fmla="*/ 132160 h 96"/>
                <a:gd name="T98" fmla="*/ 517525 w 240"/>
                <a:gd name="T99" fmla="*/ 132160 h 96"/>
                <a:gd name="T100" fmla="*/ 483023 w 240"/>
                <a:gd name="T101" fmla="*/ 73422 h 96"/>
                <a:gd name="T102" fmla="*/ 500274 w 240"/>
                <a:gd name="T103" fmla="*/ 58738 h 96"/>
                <a:gd name="T104" fmla="*/ 465773 w 240"/>
                <a:gd name="T105" fmla="*/ 58738 h 96"/>
                <a:gd name="T106" fmla="*/ 448522 w 240"/>
                <a:gd name="T107" fmla="*/ 29369 h 9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40"/>
                <a:gd name="T163" fmla="*/ 0 h 96"/>
                <a:gd name="T164" fmla="*/ 240 w 240"/>
                <a:gd name="T165" fmla="*/ 96 h 9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40" h="96">
                  <a:moveTo>
                    <a:pt x="208" y="16"/>
                  </a:moveTo>
                  <a:lnTo>
                    <a:pt x="208" y="8"/>
                  </a:lnTo>
                  <a:lnTo>
                    <a:pt x="192" y="8"/>
                  </a:lnTo>
                  <a:lnTo>
                    <a:pt x="168" y="16"/>
                  </a:lnTo>
                  <a:lnTo>
                    <a:pt x="136" y="16"/>
                  </a:lnTo>
                  <a:lnTo>
                    <a:pt x="104" y="0"/>
                  </a:lnTo>
                  <a:lnTo>
                    <a:pt x="88" y="0"/>
                  </a:lnTo>
                  <a:lnTo>
                    <a:pt x="64" y="16"/>
                  </a:lnTo>
                  <a:lnTo>
                    <a:pt x="48" y="16"/>
                  </a:lnTo>
                  <a:lnTo>
                    <a:pt x="32" y="16"/>
                  </a:lnTo>
                  <a:lnTo>
                    <a:pt x="24" y="8"/>
                  </a:lnTo>
                  <a:lnTo>
                    <a:pt x="0" y="8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0" y="32"/>
                  </a:lnTo>
                  <a:lnTo>
                    <a:pt x="16" y="16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32" y="24"/>
                  </a:lnTo>
                  <a:lnTo>
                    <a:pt x="40" y="32"/>
                  </a:lnTo>
                  <a:lnTo>
                    <a:pt x="8" y="32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16" y="56"/>
                  </a:lnTo>
                  <a:lnTo>
                    <a:pt x="8" y="56"/>
                  </a:lnTo>
                  <a:lnTo>
                    <a:pt x="16" y="64"/>
                  </a:lnTo>
                  <a:lnTo>
                    <a:pt x="16" y="72"/>
                  </a:lnTo>
                  <a:lnTo>
                    <a:pt x="24" y="72"/>
                  </a:lnTo>
                  <a:lnTo>
                    <a:pt x="16" y="80"/>
                  </a:lnTo>
                  <a:lnTo>
                    <a:pt x="32" y="80"/>
                  </a:lnTo>
                  <a:lnTo>
                    <a:pt x="24" y="80"/>
                  </a:lnTo>
                  <a:lnTo>
                    <a:pt x="48" y="88"/>
                  </a:lnTo>
                  <a:lnTo>
                    <a:pt x="56" y="88"/>
                  </a:lnTo>
                  <a:lnTo>
                    <a:pt x="64" y="80"/>
                  </a:lnTo>
                  <a:lnTo>
                    <a:pt x="72" y="80"/>
                  </a:lnTo>
                  <a:lnTo>
                    <a:pt x="88" y="96"/>
                  </a:lnTo>
                  <a:lnTo>
                    <a:pt x="96" y="88"/>
                  </a:lnTo>
                  <a:lnTo>
                    <a:pt x="112" y="80"/>
                  </a:lnTo>
                  <a:lnTo>
                    <a:pt x="120" y="88"/>
                  </a:lnTo>
                  <a:lnTo>
                    <a:pt x="128" y="80"/>
                  </a:lnTo>
                  <a:lnTo>
                    <a:pt x="128" y="96"/>
                  </a:lnTo>
                  <a:lnTo>
                    <a:pt x="136" y="88"/>
                  </a:lnTo>
                  <a:lnTo>
                    <a:pt x="136" y="80"/>
                  </a:lnTo>
                  <a:lnTo>
                    <a:pt x="160" y="80"/>
                  </a:lnTo>
                  <a:lnTo>
                    <a:pt x="168" y="80"/>
                  </a:lnTo>
                  <a:lnTo>
                    <a:pt x="184" y="80"/>
                  </a:lnTo>
                  <a:lnTo>
                    <a:pt x="208" y="72"/>
                  </a:lnTo>
                  <a:lnTo>
                    <a:pt x="216" y="72"/>
                  </a:lnTo>
                  <a:lnTo>
                    <a:pt x="240" y="72"/>
                  </a:lnTo>
                  <a:lnTo>
                    <a:pt x="224" y="40"/>
                  </a:lnTo>
                  <a:lnTo>
                    <a:pt x="232" y="32"/>
                  </a:lnTo>
                  <a:lnTo>
                    <a:pt x="216" y="32"/>
                  </a:lnTo>
                  <a:lnTo>
                    <a:pt x="208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71">
              <a:extLst>
                <a:ext uri="{FF2B5EF4-FFF2-40B4-BE49-F238E27FC236}">
                  <a16:creationId xmlns:a16="http://schemas.microsoft.com/office/drawing/2014/main" id="{57322398-B754-4E6E-989D-791F44F40718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7417209" y="2882940"/>
              <a:ext cx="218264" cy="191581"/>
            </a:xfrm>
            <a:custGeom>
              <a:avLst/>
              <a:gdLst>
                <a:gd name="T0" fmla="*/ 173038 w 80"/>
                <a:gd name="T1" fmla="*/ 0 h 80"/>
                <a:gd name="T2" fmla="*/ 121127 w 80"/>
                <a:gd name="T3" fmla="*/ 14764 h 80"/>
                <a:gd name="T4" fmla="*/ 86519 w 80"/>
                <a:gd name="T5" fmla="*/ 14764 h 80"/>
                <a:gd name="T6" fmla="*/ 69215 w 80"/>
                <a:gd name="T7" fmla="*/ 14764 h 80"/>
                <a:gd name="T8" fmla="*/ 17304 w 80"/>
                <a:gd name="T9" fmla="*/ 14764 h 80"/>
                <a:gd name="T10" fmla="*/ 17304 w 80"/>
                <a:gd name="T11" fmla="*/ 29528 h 80"/>
                <a:gd name="T12" fmla="*/ 0 w 80"/>
                <a:gd name="T13" fmla="*/ 44291 h 80"/>
                <a:gd name="T14" fmla="*/ 0 w 80"/>
                <a:gd name="T15" fmla="*/ 88583 h 80"/>
                <a:gd name="T16" fmla="*/ 17304 w 80"/>
                <a:gd name="T17" fmla="*/ 88583 h 80"/>
                <a:gd name="T18" fmla="*/ 0 w 80"/>
                <a:gd name="T19" fmla="*/ 118110 h 80"/>
                <a:gd name="T20" fmla="*/ 0 w 80"/>
                <a:gd name="T21" fmla="*/ 132874 h 80"/>
                <a:gd name="T22" fmla="*/ 17304 w 80"/>
                <a:gd name="T23" fmla="*/ 147638 h 80"/>
                <a:gd name="T24" fmla="*/ 86519 w 80"/>
                <a:gd name="T25" fmla="*/ 118110 h 80"/>
                <a:gd name="T26" fmla="*/ 138430 w 80"/>
                <a:gd name="T27" fmla="*/ 88583 h 80"/>
                <a:gd name="T28" fmla="*/ 138430 w 80"/>
                <a:gd name="T29" fmla="*/ 29528 h 80"/>
                <a:gd name="T30" fmla="*/ 173038 w 80"/>
                <a:gd name="T31" fmla="*/ 0 h 8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0"/>
                <a:gd name="T49" fmla="*/ 0 h 80"/>
                <a:gd name="T50" fmla="*/ 80 w 80"/>
                <a:gd name="T51" fmla="*/ 80 h 8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0" h="80">
                  <a:moveTo>
                    <a:pt x="80" y="0"/>
                  </a:moveTo>
                  <a:lnTo>
                    <a:pt x="56" y="8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8" y="48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8" y="80"/>
                  </a:lnTo>
                  <a:lnTo>
                    <a:pt x="40" y="64"/>
                  </a:lnTo>
                  <a:lnTo>
                    <a:pt x="64" y="48"/>
                  </a:lnTo>
                  <a:lnTo>
                    <a:pt x="64" y="16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72">
              <a:extLst>
                <a:ext uri="{FF2B5EF4-FFF2-40B4-BE49-F238E27FC236}">
                  <a16:creationId xmlns:a16="http://schemas.microsoft.com/office/drawing/2014/main" id="{74D11D27-5110-4DA9-97AD-7C48CF626A55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7395182" y="3035380"/>
              <a:ext cx="152184" cy="133901"/>
            </a:xfrm>
            <a:custGeom>
              <a:avLst/>
              <a:gdLst>
                <a:gd name="T0" fmla="*/ 17236 w 56"/>
                <a:gd name="T1" fmla="*/ 14741 h 56"/>
                <a:gd name="T2" fmla="*/ 34471 w 56"/>
                <a:gd name="T3" fmla="*/ 29482 h 56"/>
                <a:gd name="T4" fmla="*/ 103414 w 56"/>
                <a:gd name="T5" fmla="*/ 0 h 56"/>
                <a:gd name="T6" fmla="*/ 120650 w 56"/>
                <a:gd name="T7" fmla="*/ 29482 h 56"/>
                <a:gd name="T8" fmla="*/ 51707 w 56"/>
                <a:gd name="T9" fmla="*/ 44223 h 56"/>
                <a:gd name="T10" fmla="*/ 86179 w 56"/>
                <a:gd name="T11" fmla="*/ 73706 h 56"/>
                <a:gd name="T12" fmla="*/ 68943 w 56"/>
                <a:gd name="T13" fmla="*/ 88447 h 56"/>
                <a:gd name="T14" fmla="*/ 51707 w 56"/>
                <a:gd name="T15" fmla="*/ 88447 h 56"/>
                <a:gd name="T16" fmla="*/ 34471 w 56"/>
                <a:gd name="T17" fmla="*/ 103188 h 56"/>
                <a:gd name="T18" fmla="*/ 0 w 56"/>
                <a:gd name="T19" fmla="*/ 103188 h 56"/>
                <a:gd name="T20" fmla="*/ 17236 w 56"/>
                <a:gd name="T21" fmla="*/ 58965 h 56"/>
                <a:gd name="T22" fmla="*/ 0 w 56"/>
                <a:gd name="T23" fmla="*/ 29482 h 56"/>
                <a:gd name="T24" fmla="*/ 17236 w 56"/>
                <a:gd name="T25" fmla="*/ 14741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6"/>
                <a:gd name="T40" fmla="*/ 0 h 56"/>
                <a:gd name="T41" fmla="*/ 56 w 56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6" h="56">
                  <a:moveTo>
                    <a:pt x="8" y="8"/>
                  </a:moveTo>
                  <a:lnTo>
                    <a:pt x="16" y="16"/>
                  </a:lnTo>
                  <a:lnTo>
                    <a:pt x="48" y="0"/>
                  </a:lnTo>
                  <a:lnTo>
                    <a:pt x="56" y="16"/>
                  </a:lnTo>
                  <a:lnTo>
                    <a:pt x="24" y="24"/>
                  </a:lnTo>
                  <a:lnTo>
                    <a:pt x="40" y="40"/>
                  </a:lnTo>
                  <a:lnTo>
                    <a:pt x="32" y="48"/>
                  </a:lnTo>
                  <a:lnTo>
                    <a:pt x="24" y="48"/>
                  </a:lnTo>
                  <a:lnTo>
                    <a:pt x="16" y="56"/>
                  </a:lnTo>
                  <a:lnTo>
                    <a:pt x="0" y="56"/>
                  </a:lnTo>
                  <a:lnTo>
                    <a:pt x="8" y="32"/>
                  </a:lnTo>
                  <a:lnTo>
                    <a:pt x="0" y="16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73">
              <a:extLst>
                <a:ext uri="{FF2B5EF4-FFF2-40B4-BE49-F238E27FC236}">
                  <a16:creationId xmlns:a16="http://schemas.microsoft.com/office/drawing/2014/main" id="{4B3F112A-C1D5-4E16-B188-1DE790C63C48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7525340" y="2882940"/>
              <a:ext cx="350424" cy="304881"/>
            </a:xfrm>
            <a:custGeom>
              <a:avLst/>
              <a:gdLst>
                <a:gd name="T0" fmla="*/ 156270 w 10000"/>
                <a:gd name="T1" fmla="*/ 0 h 10000"/>
                <a:gd name="T2" fmla="*/ 190996 w 10000"/>
                <a:gd name="T3" fmla="*/ 58738 h 10000"/>
                <a:gd name="T4" fmla="*/ 173633 w 10000"/>
                <a:gd name="T5" fmla="*/ 88106 h 10000"/>
                <a:gd name="T6" fmla="*/ 190996 w 10000"/>
                <a:gd name="T7" fmla="*/ 117475 h 10000"/>
                <a:gd name="T8" fmla="*/ 243086 w 10000"/>
                <a:gd name="T9" fmla="*/ 132159 h 10000"/>
                <a:gd name="T10" fmla="*/ 243086 w 10000"/>
                <a:gd name="T11" fmla="*/ 176212 h 10000"/>
                <a:gd name="T12" fmla="*/ 277813 w 10000"/>
                <a:gd name="T13" fmla="*/ 205581 h 10000"/>
                <a:gd name="T14" fmla="*/ 243086 w 10000"/>
                <a:gd name="T15" fmla="*/ 205581 h 10000"/>
                <a:gd name="T16" fmla="*/ 225723 w 10000"/>
                <a:gd name="T17" fmla="*/ 234950 h 10000"/>
                <a:gd name="T18" fmla="*/ 173633 w 10000"/>
                <a:gd name="T19" fmla="*/ 234950 h 10000"/>
                <a:gd name="T20" fmla="*/ 138907 w 10000"/>
                <a:gd name="T21" fmla="*/ 220266 h 10000"/>
                <a:gd name="T22" fmla="*/ 138907 w 10000"/>
                <a:gd name="T23" fmla="*/ 190897 h 10000"/>
                <a:gd name="T24" fmla="*/ 121543 w 10000"/>
                <a:gd name="T25" fmla="*/ 190897 h 10000"/>
                <a:gd name="T26" fmla="*/ 52090 w 10000"/>
                <a:gd name="T27" fmla="*/ 161528 h 10000"/>
                <a:gd name="T28" fmla="*/ 17363 w 10000"/>
                <a:gd name="T29" fmla="*/ 146844 h 10000"/>
                <a:gd name="T30" fmla="*/ 0 w 10000"/>
                <a:gd name="T31" fmla="*/ 117475 h 10000"/>
                <a:gd name="T32" fmla="*/ 52090 w 10000"/>
                <a:gd name="T33" fmla="*/ 88106 h 10000"/>
                <a:gd name="T34" fmla="*/ 52090 w 10000"/>
                <a:gd name="T35" fmla="*/ 29369 h 10000"/>
                <a:gd name="T36" fmla="*/ 86817 w 10000"/>
                <a:gd name="T37" fmla="*/ 0 h 10000"/>
                <a:gd name="T38" fmla="*/ 104180 w 10000"/>
                <a:gd name="T39" fmla="*/ 0 h 10000"/>
                <a:gd name="T40" fmla="*/ 156270 w 10000"/>
                <a:gd name="T41" fmla="*/ 0 h 1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000" h="10000">
                  <a:moveTo>
                    <a:pt x="5625" y="0"/>
                  </a:moveTo>
                  <a:lnTo>
                    <a:pt x="6875" y="2500"/>
                  </a:lnTo>
                  <a:lnTo>
                    <a:pt x="6250" y="3750"/>
                  </a:lnTo>
                  <a:lnTo>
                    <a:pt x="6875" y="5000"/>
                  </a:lnTo>
                  <a:lnTo>
                    <a:pt x="8750" y="5625"/>
                  </a:lnTo>
                  <a:lnTo>
                    <a:pt x="8750" y="7500"/>
                  </a:lnTo>
                  <a:lnTo>
                    <a:pt x="10000" y="8750"/>
                  </a:lnTo>
                  <a:lnTo>
                    <a:pt x="8750" y="8750"/>
                  </a:lnTo>
                  <a:lnTo>
                    <a:pt x="8125" y="10000"/>
                  </a:lnTo>
                  <a:lnTo>
                    <a:pt x="6250" y="10000"/>
                  </a:lnTo>
                  <a:lnTo>
                    <a:pt x="5000" y="9375"/>
                  </a:lnTo>
                  <a:lnTo>
                    <a:pt x="5000" y="8125"/>
                  </a:lnTo>
                  <a:lnTo>
                    <a:pt x="4375" y="8125"/>
                  </a:lnTo>
                  <a:lnTo>
                    <a:pt x="1875" y="6875"/>
                  </a:lnTo>
                  <a:lnTo>
                    <a:pt x="625" y="6250"/>
                  </a:lnTo>
                  <a:lnTo>
                    <a:pt x="0" y="5000"/>
                  </a:lnTo>
                  <a:lnTo>
                    <a:pt x="1875" y="3750"/>
                  </a:lnTo>
                  <a:lnTo>
                    <a:pt x="1875" y="1250"/>
                  </a:lnTo>
                  <a:lnTo>
                    <a:pt x="3125" y="0"/>
                  </a:lnTo>
                  <a:lnTo>
                    <a:pt x="3750" y="0"/>
                  </a:lnTo>
                  <a:lnTo>
                    <a:pt x="562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74">
              <a:extLst>
                <a:ext uri="{FF2B5EF4-FFF2-40B4-BE49-F238E27FC236}">
                  <a16:creationId xmlns:a16="http://schemas.microsoft.com/office/drawing/2014/main" id="{13D84A3E-448E-41E2-B47F-43AE181AA3FA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7395182" y="2996241"/>
              <a:ext cx="44053" cy="39141"/>
            </a:xfrm>
            <a:custGeom>
              <a:avLst/>
              <a:gdLst>
                <a:gd name="T0" fmla="*/ 17463 w 16"/>
                <a:gd name="T1" fmla="*/ 0 h 16"/>
                <a:gd name="T2" fmla="*/ 34925 w 16"/>
                <a:gd name="T3" fmla="*/ 0 h 16"/>
                <a:gd name="T4" fmla="*/ 17463 w 16"/>
                <a:gd name="T5" fmla="*/ 30163 h 16"/>
                <a:gd name="T6" fmla="*/ 0 w 16"/>
                <a:gd name="T7" fmla="*/ 30163 h 16"/>
                <a:gd name="T8" fmla="*/ 17463 w 16"/>
                <a:gd name="T9" fmla="*/ 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6"/>
                <a:gd name="T17" fmla="*/ 16 w 1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6">
                  <a:moveTo>
                    <a:pt x="8" y="0"/>
                  </a:moveTo>
                  <a:lnTo>
                    <a:pt x="16" y="0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75">
              <a:extLst>
                <a:ext uri="{FF2B5EF4-FFF2-40B4-BE49-F238E27FC236}">
                  <a16:creationId xmlns:a16="http://schemas.microsoft.com/office/drawing/2014/main" id="{614E5160-C9A4-4C79-B542-56092CEC7956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7373156" y="3035380"/>
              <a:ext cx="44053" cy="133901"/>
            </a:xfrm>
            <a:custGeom>
              <a:avLst/>
              <a:gdLst>
                <a:gd name="T0" fmla="*/ 34925 w 16"/>
                <a:gd name="T1" fmla="*/ 14741 h 56"/>
                <a:gd name="T2" fmla="*/ 17463 w 16"/>
                <a:gd name="T3" fmla="*/ 29482 h 56"/>
                <a:gd name="T4" fmla="*/ 34925 w 16"/>
                <a:gd name="T5" fmla="*/ 58965 h 56"/>
                <a:gd name="T6" fmla="*/ 17463 w 16"/>
                <a:gd name="T7" fmla="*/ 103188 h 56"/>
                <a:gd name="T8" fmla="*/ 0 w 16"/>
                <a:gd name="T9" fmla="*/ 58965 h 56"/>
                <a:gd name="T10" fmla="*/ 0 w 16"/>
                <a:gd name="T11" fmla="*/ 44223 h 56"/>
                <a:gd name="T12" fmla="*/ 17463 w 16"/>
                <a:gd name="T13" fmla="*/ 0 h 56"/>
                <a:gd name="T14" fmla="*/ 34925 w 16"/>
                <a:gd name="T15" fmla="*/ 0 h 56"/>
                <a:gd name="T16" fmla="*/ 34925 w 16"/>
                <a:gd name="T17" fmla="*/ 14741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56"/>
                <a:gd name="T29" fmla="*/ 16 w 16"/>
                <a:gd name="T30" fmla="*/ 56 h 5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56">
                  <a:moveTo>
                    <a:pt x="16" y="8"/>
                  </a:moveTo>
                  <a:lnTo>
                    <a:pt x="8" y="16"/>
                  </a:lnTo>
                  <a:lnTo>
                    <a:pt x="16" y="32"/>
                  </a:lnTo>
                  <a:lnTo>
                    <a:pt x="8" y="56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76">
              <a:extLst>
                <a:ext uri="{FF2B5EF4-FFF2-40B4-BE49-F238E27FC236}">
                  <a16:creationId xmlns:a16="http://schemas.microsoft.com/office/drawing/2014/main" id="{999F4F3C-1A92-4E1C-91B5-AB02AE8DEED5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7046761" y="3093061"/>
              <a:ext cx="392474" cy="344022"/>
            </a:xfrm>
            <a:custGeom>
              <a:avLst/>
              <a:gdLst>
                <a:gd name="T0" fmla="*/ 259292 w 144"/>
                <a:gd name="T1" fmla="*/ 14729 h 144"/>
                <a:gd name="T2" fmla="*/ 224719 w 144"/>
                <a:gd name="T3" fmla="*/ 14729 h 144"/>
                <a:gd name="T4" fmla="*/ 207433 w 144"/>
                <a:gd name="T5" fmla="*/ 14729 h 144"/>
                <a:gd name="T6" fmla="*/ 190147 w 144"/>
                <a:gd name="T7" fmla="*/ 14729 h 144"/>
                <a:gd name="T8" fmla="*/ 190147 w 144"/>
                <a:gd name="T9" fmla="*/ 0 h 144"/>
                <a:gd name="T10" fmla="*/ 172861 w 144"/>
                <a:gd name="T11" fmla="*/ 0 h 144"/>
                <a:gd name="T12" fmla="*/ 121003 w 144"/>
                <a:gd name="T13" fmla="*/ 14729 h 144"/>
                <a:gd name="T14" fmla="*/ 51858 w 144"/>
                <a:gd name="T15" fmla="*/ 0 h 144"/>
                <a:gd name="T16" fmla="*/ 0 w 144"/>
                <a:gd name="T17" fmla="*/ 0 h 144"/>
                <a:gd name="T18" fmla="*/ 0 w 144"/>
                <a:gd name="T19" fmla="*/ 44185 h 144"/>
                <a:gd name="T20" fmla="*/ 0 w 144"/>
                <a:gd name="T21" fmla="*/ 88371 h 144"/>
                <a:gd name="T22" fmla="*/ 17286 w 144"/>
                <a:gd name="T23" fmla="*/ 265113 h 144"/>
                <a:gd name="T24" fmla="*/ 242006 w 144"/>
                <a:gd name="T25" fmla="*/ 265113 h 144"/>
                <a:gd name="T26" fmla="*/ 276578 w 144"/>
                <a:gd name="T27" fmla="*/ 265113 h 144"/>
                <a:gd name="T28" fmla="*/ 311150 w 144"/>
                <a:gd name="T29" fmla="*/ 235656 h 144"/>
                <a:gd name="T30" fmla="*/ 311150 w 144"/>
                <a:gd name="T31" fmla="*/ 206199 h 144"/>
                <a:gd name="T32" fmla="*/ 224719 w 144"/>
                <a:gd name="T33" fmla="*/ 73642 h 144"/>
                <a:gd name="T34" fmla="*/ 207433 w 144"/>
                <a:gd name="T35" fmla="*/ 44185 h 144"/>
                <a:gd name="T36" fmla="*/ 242006 w 144"/>
                <a:gd name="T37" fmla="*/ 88371 h 144"/>
                <a:gd name="T38" fmla="*/ 259292 w 144"/>
                <a:gd name="T39" fmla="*/ 103099 h 144"/>
                <a:gd name="T40" fmla="*/ 276578 w 144"/>
                <a:gd name="T41" fmla="*/ 58914 h 144"/>
                <a:gd name="T42" fmla="*/ 259292 w 144"/>
                <a:gd name="T43" fmla="*/ 14729 h 1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44"/>
                <a:gd name="T67" fmla="*/ 0 h 144"/>
                <a:gd name="T68" fmla="*/ 144 w 144"/>
                <a:gd name="T69" fmla="*/ 144 h 14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44" h="144">
                  <a:moveTo>
                    <a:pt x="120" y="8"/>
                  </a:moveTo>
                  <a:lnTo>
                    <a:pt x="104" y="8"/>
                  </a:lnTo>
                  <a:lnTo>
                    <a:pt x="96" y="8"/>
                  </a:lnTo>
                  <a:lnTo>
                    <a:pt x="88" y="8"/>
                  </a:lnTo>
                  <a:lnTo>
                    <a:pt x="88" y="0"/>
                  </a:lnTo>
                  <a:lnTo>
                    <a:pt x="80" y="0"/>
                  </a:lnTo>
                  <a:lnTo>
                    <a:pt x="56" y="8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8" y="144"/>
                  </a:lnTo>
                  <a:lnTo>
                    <a:pt x="112" y="144"/>
                  </a:lnTo>
                  <a:lnTo>
                    <a:pt x="128" y="144"/>
                  </a:lnTo>
                  <a:lnTo>
                    <a:pt x="144" y="128"/>
                  </a:lnTo>
                  <a:lnTo>
                    <a:pt x="144" y="112"/>
                  </a:lnTo>
                  <a:lnTo>
                    <a:pt x="104" y="40"/>
                  </a:lnTo>
                  <a:lnTo>
                    <a:pt x="96" y="24"/>
                  </a:lnTo>
                  <a:lnTo>
                    <a:pt x="112" y="48"/>
                  </a:lnTo>
                  <a:lnTo>
                    <a:pt x="120" y="56"/>
                  </a:lnTo>
                  <a:lnTo>
                    <a:pt x="128" y="32"/>
                  </a:lnTo>
                  <a:lnTo>
                    <a:pt x="12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77">
              <a:extLst>
                <a:ext uri="{FF2B5EF4-FFF2-40B4-BE49-F238E27FC236}">
                  <a16:creationId xmlns:a16="http://schemas.microsoft.com/office/drawing/2014/main" id="{9DFF7481-85B3-4F67-ADCB-85EA537FBDCC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242998" y="4088045"/>
              <a:ext cx="196237" cy="191581"/>
            </a:xfrm>
            <a:custGeom>
              <a:avLst/>
              <a:gdLst>
                <a:gd name="T0" fmla="*/ 121003 w 72"/>
                <a:gd name="T1" fmla="*/ 0 h 80"/>
                <a:gd name="T2" fmla="*/ 69144 w 72"/>
                <a:gd name="T3" fmla="*/ 14764 h 80"/>
                <a:gd name="T4" fmla="*/ 34572 w 72"/>
                <a:gd name="T5" fmla="*/ 14764 h 80"/>
                <a:gd name="T6" fmla="*/ 34572 w 72"/>
                <a:gd name="T7" fmla="*/ 44291 h 80"/>
                <a:gd name="T8" fmla="*/ 51858 w 72"/>
                <a:gd name="T9" fmla="*/ 59055 h 80"/>
                <a:gd name="T10" fmla="*/ 34572 w 72"/>
                <a:gd name="T11" fmla="*/ 73819 h 80"/>
                <a:gd name="T12" fmla="*/ 17286 w 72"/>
                <a:gd name="T13" fmla="*/ 103347 h 80"/>
                <a:gd name="T14" fmla="*/ 0 w 72"/>
                <a:gd name="T15" fmla="*/ 147638 h 80"/>
                <a:gd name="T16" fmla="*/ 17286 w 72"/>
                <a:gd name="T17" fmla="*/ 147638 h 80"/>
                <a:gd name="T18" fmla="*/ 69144 w 72"/>
                <a:gd name="T19" fmla="*/ 147638 h 80"/>
                <a:gd name="T20" fmla="*/ 121003 w 72"/>
                <a:gd name="T21" fmla="*/ 147638 h 80"/>
                <a:gd name="T22" fmla="*/ 121003 w 72"/>
                <a:gd name="T23" fmla="*/ 103347 h 80"/>
                <a:gd name="T24" fmla="*/ 155575 w 72"/>
                <a:gd name="T25" fmla="*/ 59055 h 80"/>
                <a:gd name="T26" fmla="*/ 138289 w 72"/>
                <a:gd name="T27" fmla="*/ 0 h 80"/>
                <a:gd name="T28" fmla="*/ 121003 w 72"/>
                <a:gd name="T29" fmla="*/ 0 h 8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2"/>
                <a:gd name="T46" fmla="*/ 0 h 80"/>
                <a:gd name="T47" fmla="*/ 72 w 72"/>
                <a:gd name="T48" fmla="*/ 80 h 8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2" h="80">
                  <a:moveTo>
                    <a:pt x="56" y="0"/>
                  </a:moveTo>
                  <a:lnTo>
                    <a:pt x="32" y="8"/>
                  </a:lnTo>
                  <a:lnTo>
                    <a:pt x="16" y="8"/>
                  </a:lnTo>
                  <a:lnTo>
                    <a:pt x="16" y="24"/>
                  </a:lnTo>
                  <a:lnTo>
                    <a:pt x="24" y="32"/>
                  </a:lnTo>
                  <a:lnTo>
                    <a:pt x="16" y="40"/>
                  </a:lnTo>
                  <a:lnTo>
                    <a:pt x="8" y="56"/>
                  </a:lnTo>
                  <a:lnTo>
                    <a:pt x="0" y="80"/>
                  </a:lnTo>
                  <a:lnTo>
                    <a:pt x="8" y="80"/>
                  </a:lnTo>
                  <a:lnTo>
                    <a:pt x="32" y="80"/>
                  </a:lnTo>
                  <a:lnTo>
                    <a:pt x="56" y="80"/>
                  </a:lnTo>
                  <a:lnTo>
                    <a:pt x="56" y="56"/>
                  </a:lnTo>
                  <a:lnTo>
                    <a:pt x="72" y="32"/>
                  </a:lnTo>
                  <a:lnTo>
                    <a:pt x="64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78">
              <a:extLst>
                <a:ext uri="{FF2B5EF4-FFF2-40B4-BE49-F238E27FC236}">
                  <a16:creationId xmlns:a16="http://schemas.microsoft.com/office/drawing/2014/main" id="{398F4595-1527-4111-A75D-DF26EE5A4907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395182" y="4069504"/>
              <a:ext cx="284344" cy="344022"/>
            </a:xfrm>
            <a:custGeom>
              <a:avLst/>
              <a:gdLst>
                <a:gd name="T0" fmla="*/ 121383 w 104"/>
                <a:gd name="T1" fmla="*/ 235656 h 144"/>
                <a:gd name="T2" fmla="*/ 104042 w 104"/>
                <a:gd name="T3" fmla="*/ 206199 h 144"/>
                <a:gd name="T4" fmla="*/ 17340 w 104"/>
                <a:gd name="T5" fmla="*/ 162013 h 144"/>
                <a:gd name="T6" fmla="*/ 0 w 104"/>
                <a:gd name="T7" fmla="*/ 162013 h 144"/>
                <a:gd name="T8" fmla="*/ 0 w 104"/>
                <a:gd name="T9" fmla="*/ 117828 h 144"/>
                <a:gd name="T10" fmla="*/ 34681 w 104"/>
                <a:gd name="T11" fmla="*/ 73642 h 144"/>
                <a:gd name="T12" fmla="*/ 17340 w 104"/>
                <a:gd name="T13" fmla="*/ 14729 h 144"/>
                <a:gd name="T14" fmla="*/ 0 w 104"/>
                <a:gd name="T15" fmla="*/ 14729 h 144"/>
                <a:gd name="T16" fmla="*/ 17340 w 104"/>
                <a:gd name="T17" fmla="*/ 0 h 144"/>
                <a:gd name="T18" fmla="*/ 52021 w 104"/>
                <a:gd name="T19" fmla="*/ 0 h 144"/>
                <a:gd name="T20" fmla="*/ 86702 w 104"/>
                <a:gd name="T21" fmla="*/ 0 h 144"/>
                <a:gd name="T22" fmla="*/ 121383 w 104"/>
                <a:gd name="T23" fmla="*/ 29457 h 144"/>
                <a:gd name="T24" fmla="*/ 156063 w 104"/>
                <a:gd name="T25" fmla="*/ 29457 h 144"/>
                <a:gd name="T26" fmla="*/ 208085 w 104"/>
                <a:gd name="T27" fmla="*/ 14729 h 144"/>
                <a:gd name="T28" fmla="*/ 225425 w 104"/>
                <a:gd name="T29" fmla="*/ 14729 h 144"/>
                <a:gd name="T30" fmla="*/ 208085 w 104"/>
                <a:gd name="T31" fmla="*/ 58914 h 144"/>
                <a:gd name="T32" fmla="*/ 208085 w 104"/>
                <a:gd name="T33" fmla="*/ 147285 h 144"/>
                <a:gd name="T34" fmla="*/ 225425 w 104"/>
                <a:gd name="T35" fmla="*/ 176742 h 144"/>
                <a:gd name="T36" fmla="*/ 190744 w 104"/>
                <a:gd name="T37" fmla="*/ 206199 h 144"/>
                <a:gd name="T38" fmla="*/ 190744 w 104"/>
                <a:gd name="T39" fmla="*/ 191470 h 144"/>
                <a:gd name="T40" fmla="*/ 190744 w 104"/>
                <a:gd name="T41" fmla="*/ 220927 h 144"/>
                <a:gd name="T42" fmla="*/ 156063 w 104"/>
                <a:gd name="T43" fmla="*/ 265113 h 144"/>
                <a:gd name="T44" fmla="*/ 121383 w 104"/>
                <a:gd name="T45" fmla="*/ 235656 h 1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4"/>
                <a:gd name="T70" fmla="*/ 0 h 144"/>
                <a:gd name="T71" fmla="*/ 104 w 104"/>
                <a:gd name="T72" fmla="*/ 144 h 1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4" h="144">
                  <a:moveTo>
                    <a:pt x="56" y="128"/>
                  </a:moveTo>
                  <a:lnTo>
                    <a:pt x="48" y="112"/>
                  </a:lnTo>
                  <a:lnTo>
                    <a:pt x="8" y="88"/>
                  </a:lnTo>
                  <a:lnTo>
                    <a:pt x="0" y="88"/>
                  </a:lnTo>
                  <a:lnTo>
                    <a:pt x="0" y="64"/>
                  </a:lnTo>
                  <a:lnTo>
                    <a:pt x="16" y="40"/>
                  </a:lnTo>
                  <a:lnTo>
                    <a:pt x="8" y="8"/>
                  </a:lnTo>
                  <a:lnTo>
                    <a:pt x="0" y="8"/>
                  </a:lnTo>
                  <a:lnTo>
                    <a:pt x="8" y="0"/>
                  </a:lnTo>
                  <a:lnTo>
                    <a:pt x="24" y="0"/>
                  </a:lnTo>
                  <a:lnTo>
                    <a:pt x="40" y="0"/>
                  </a:lnTo>
                  <a:lnTo>
                    <a:pt x="56" y="16"/>
                  </a:lnTo>
                  <a:lnTo>
                    <a:pt x="72" y="16"/>
                  </a:lnTo>
                  <a:lnTo>
                    <a:pt x="96" y="8"/>
                  </a:lnTo>
                  <a:lnTo>
                    <a:pt x="104" y="8"/>
                  </a:lnTo>
                  <a:lnTo>
                    <a:pt x="96" y="32"/>
                  </a:lnTo>
                  <a:lnTo>
                    <a:pt x="96" y="80"/>
                  </a:lnTo>
                  <a:lnTo>
                    <a:pt x="104" y="96"/>
                  </a:lnTo>
                  <a:lnTo>
                    <a:pt x="88" y="112"/>
                  </a:lnTo>
                  <a:lnTo>
                    <a:pt x="88" y="104"/>
                  </a:lnTo>
                  <a:lnTo>
                    <a:pt x="88" y="120"/>
                  </a:lnTo>
                  <a:lnTo>
                    <a:pt x="72" y="144"/>
                  </a:lnTo>
                  <a:lnTo>
                    <a:pt x="56" y="1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79">
              <a:extLst>
                <a:ext uri="{FF2B5EF4-FFF2-40B4-BE49-F238E27FC236}">
                  <a16:creationId xmlns:a16="http://schemas.microsoft.com/office/drawing/2014/main" id="{F25B6F6B-1774-4C7C-94D7-6A80AB6BF088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242998" y="4279625"/>
              <a:ext cx="392474" cy="383161"/>
            </a:xfrm>
            <a:custGeom>
              <a:avLst/>
              <a:gdLst>
                <a:gd name="T0" fmla="*/ 17286 w 144"/>
                <a:gd name="T1" fmla="*/ 0 h 160"/>
                <a:gd name="T2" fmla="*/ 34572 w 144"/>
                <a:gd name="T3" fmla="*/ 14764 h 160"/>
                <a:gd name="T4" fmla="*/ 34572 w 144"/>
                <a:gd name="T5" fmla="*/ 29528 h 160"/>
                <a:gd name="T6" fmla="*/ 34572 w 144"/>
                <a:gd name="T7" fmla="*/ 59055 h 160"/>
                <a:gd name="T8" fmla="*/ 0 w 144"/>
                <a:gd name="T9" fmla="*/ 88582 h 160"/>
                <a:gd name="T10" fmla="*/ 0 w 144"/>
                <a:gd name="T11" fmla="*/ 147638 h 160"/>
                <a:gd name="T12" fmla="*/ 34572 w 144"/>
                <a:gd name="T13" fmla="*/ 191929 h 160"/>
                <a:gd name="T14" fmla="*/ 34572 w 144"/>
                <a:gd name="T15" fmla="*/ 206692 h 160"/>
                <a:gd name="T16" fmla="*/ 51858 w 144"/>
                <a:gd name="T17" fmla="*/ 206692 h 160"/>
                <a:gd name="T18" fmla="*/ 103717 w 144"/>
                <a:gd name="T19" fmla="*/ 236220 h 160"/>
                <a:gd name="T20" fmla="*/ 121003 w 144"/>
                <a:gd name="T21" fmla="*/ 236220 h 160"/>
                <a:gd name="T22" fmla="*/ 138289 w 144"/>
                <a:gd name="T23" fmla="*/ 250984 h 160"/>
                <a:gd name="T24" fmla="*/ 155575 w 144"/>
                <a:gd name="T25" fmla="*/ 295275 h 160"/>
                <a:gd name="T26" fmla="*/ 190147 w 144"/>
                <a:gd name="T27" fmla="*/ 295275 h 160"/>
                <a:gd name="T28" fmla="*/ 276578 w 144"/>
                <a:gd name="T29" fmla="*/ 280511 h 160"/>
                <a:gd name="T30" fmla="*/ 311150 w 144"/>
                <a:gd name="T31" fmla="*/ 265748 h 160"/>
                <a:gd name="T32" fmla="*/ 293864 w 144"/>
                <a:gd name="T33" fmla="*/ 250984 h 160"/>
                <a:gd name="T34" fmla="*/ 276578 w 144"/>
                <a:gd name="T35" fmla="*/ 221456 h 160"/>
                <a:gd name="T36" fmla="*/ 293864 w 144"/>
                <a:gd name="T37" fmla="*/ 162401 h 160"/>
                <a:gd name="T38" fmla="*/ 259292 w 144"/>
                <a:gd name="T39" fmla="*/ 132874 h 160"/>
                <a:gd name="T40" fmla="*/ 276578 w 144"/>
                <a:gd name="T41" fmla="*/ 103346 h 160"/>
                <a:gd name="T42" fmla="*/ 242006 w 144"/>
                <a:gd name="T43" fmla="*/ 73819 h 160"/>
                <a:gd name="T44" fmla="*/ 224719 w 144"/>
                <a:gd name="T45" fmla="*/ 44291 h 160"/>
                <a:gd name="T46" fmla="*/ 138289 w 144"/>
                <a:gd name="T47" fmla="*/ 0 h 160"/>
                <a:gd name="T48" fmla="*/ 121003 w 144"/>
                <a:gd name="T49" fmla="*/ 0 h 160"/>
                <a:gd name="T50" fmla="*/ 69144 w 144"/>
                <a:gd name="T51" fmla="*/ 0 h 160"/>
                <a:gd name="T52" fmla="*/ 17286 w 144"/>
                <a:gd name="T53" fmla="*/ 0 h 16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44"/>
                <a:gd name="T82" fmla="*/ 0 h 160"/>
                <a:gd name="T83" fmla="*/ 144 w 144"/>
                <a:gd name="T84" fmla="*/ 160 h 16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44" h="160">
                  <a:moveTo>
                    <a:pt x="8" y="0"/>
                  </a:moveTo>
                  <a:lnTo>
                    <a:pt x="16" y="8"/>
                  </a:lnTo>
                  <a:lnTo>
                    <a:pt x="16" y="16"/>
                  </a:lnTo>
                  <a:lnTo>
                    <a:pt x="16" y="32"/>
                  </a:lnTo>
                  <a:lnTo>
                    <a:pt x="0" y="48"/>
                  </a:lnTo>
                  <a:lnTo>
                    <a:pt x="0" y="80"/>
                  </a:lnTo>
                  <a:lnTo>
                    <a:pt x="16" y="104"/>
                  </a:lnTo>
                  <a:lnTo>
                    <a:pt x="16" y="112"/>
                  </a:lnTo>
                  <a:lnTo>
                    <a:pt x="24" y="112"/>
                  </a:lnTo>
                  <a:lnTo>
                    <a:pt x="48" y="128"/>
                  </a:lnTo>
                  <a:lnTo>
                    <a:pt x="56" y="128"/>
                  </a:lnTo>
                  <a:lnTo>
                    <a:pt x="64" y="136"/>
                  </a:lnTo>
                  <a:lnTo>
                    <a:pt x="72" y="160"/>
                  </a:lnTo>
                  <a:lnTo>
                    <a:pt x="88" y="160"/>
                  </a:lnTo>
                  <a:lnTo>
                    <a:pt x="128" y="152"/>
                  </a:lnTo>
                  <a:lnTo>
                    <a:pt x="144" y="144"/>
                  </a:lnTo>
                  <a:lnTo>
                    <a:pt x="136" y="136"/>
                  </a:lnTo>
                  <a:lnTo>
                    <a:pt x="128" y="120"/>
                  </a:lnTo>
                  <a:lnTo>
                    <a:pt x="136" y="88"/>
                  </a:lnTo>
                  <a:lnTo>
                    <a:pt x="120" y="72"/>
                  </a:lnTo>
                  <a:lnTo>
                    <a:pt x="128" y="56"/>
                  </a:lnTo>
                  <a:lnTo>
                    <a:pt x="112" y="40"/>
                  </a:lnTo>
                  <a:lnTo>
                    <a:pt x="104" y="24"/>
                  </a:lnTo>
                  <a:lnTo>
                    <a:pt x="64" y="0"/>
                  </a:lnTo>
                  <a:lnTo>
                    <a:pt x="56" y="0"/>
                  </a:lnTo>
                  <a:lnTo>
                    <a:pt x="32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80">
              <a:extLst>
                <a:ext uri="{FF2B5EF4-FFF2-40B4-BE49-F238E27FC236}">
                  <a16:creationId xmlns:a16="http://schemas.microsoft.com/office/drawing/2014/main" id="{F143F372-F135-4CF8-B6BB-CE2A8DB479D4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6958654" y="4528886"/>
              <a:ext cx="436528" cy="362561"/>
            </a:xfrm>
            <a:custGeom>
              <a:avLst/>
              <a:gdLst>
                <a:gd name="T0" fmla="*/ 207645 w 160"/>
                <a:gd name="T1" fmla="*/ 220579 h 152"/>
                <a:gd name="T2" fmla="*/ 190341 w 160"/>
                <a:gd name="T3" fmla="*/ 235284 h 152"/>
                <a:gd name="T4" fmla="*/ 138430 w 160"/>
                <a:gd name="T5" fmla="*/ 279400 h 152"/>
                <a:gd name="T6" fmla="*/ 86519 w 160"/>
                <a:gd name="T7" fmla="*/ 279400 h 152"/>
                <a:gd name="T8" fmla="*/ 51911 w 160"/>
                <a:gd name="T9" fmla="*/ 264695 h 152"/>
                <a:gd name="T10" fmla="*/ 34608 w 160"/>
                <a:gd name="T11" fmla="*/ 264695 h 152"/>
                <a:gd name="T12" fmla="*/ 0 w 160"/>
                <a:gd name="T13" fmla="*/ 235284 h 152"/>
                <a:gd name="T14" fmla="*/ 0 w 160"/>
                <a:gd name="T15" fmla="*/ 147053 h 152"/>
                <a:gd name="T16" fmla="*/ 69215 w 160"/>
                <a:gd name="T17" fmla="*/ 132347 h 152"/>
                <a:gd name="T18" fmla="*/ 51911 w 160"/>
                <a:gd name="T19" fmla="*/ 132347 h 152"/>
                <a:gd name="T20" fmla="*/ 69215 w 160"/>
                <a:gd name="T21" fmla="*/ 73526 h 152"/>
                <a:gd name="T22" fmla="*/ 121126 w 160"/>
                <a:gd name="T23" fmla="*/ 102937 h 152"/>
                <a:gd name="T24" fmla="*/ 138430 w 160"/>
                <a:gd name="T25" fmla="*/ 102937 h 152"/>
                <a:gd name="T26" fmla="*/ 190341 w 160"/>
                <a:gd name="T27" fmla="*/ 132347 h 152"/>
                <a:gd name="T28" fmla="*/ 224949 w 160"/>
                <a:gd name="T29" fmla="*/ 147053 h 152"/>
                <a:gd name="T30" fmla="*/ 224949 w 160"/>
                <a:gd name="T31" fmla="*/ 117642 h 152"/>
                <a:gd name="T32" fmla="*/ 207645 w 160"/>
                <a:gd name="T33" fmla="*/ 117642 h 152"/>
                <a:gd name="T34" fmla="*/ 190341 w 160"/>
                <a:gd name="T35" fmla="*/ 102937 h 152"/>
                <a:gd name="T36" fmla="*/ 207645 w 160"/>
                <a:gd name="T37" fmla="*/ 29411 h 152"/>
                <a:gd name="T38" fmla="*/ 207645 w 160"/>
                <a:gd name="T39" fmla="*/ 14705 h 152"/>
                <a:gd name="T40" fmla="*/ 242252 w 160"/>
                <a:gd name="T41" fmla="*/ 0 h 152"/>
                <a:gd name="T42" fmla="*/ 259556 w 160"/>
                <a:gd name="T43" fmla="*/ 0 h 152"/>
                <a:gd name="T44" fmla="*/ 259556 w 160"/>
                <a:gd name="T45" fmla="*/ 14705 h 152"/>
                <a:gd name="T46" fmla="*/ 276860 w 160"/>
                <a:gd name="T47" fmla="*/ 14705 h 152"/>
                <a:gd name="T48" fmla="*/ 328771 w 160"/>
                <a:gd name="T49" fmla="*/ 44116 h 152"/>
                <a:gd name="T50" fmla="*/ 346075 w 160"/>
                <a:gd name="T51" fmla="*/ 73526 h 152"/>
                <a:gd name="T52" fmla="*/ 328771 w 160"/>
                <a:gd name="T53" fmla="*/ 102937 h 152"/>
                <a:gd name="T54" fmla="*/ 328771 w 160"/>
                <a:gd name="T55" fmla="*/ 117642 h 152"/>
                <a:gd name="T56" fmla="*/ 311468 w 160"/>
                <a:gd name="T57" fmla="*/ 161758 h 152"/>
                <a:gd name="T58" fmla="*/ 328771 w 160"/>
                <a:gd name="T59" fmla="*/ 161758 h 152"/>
                <a:gd name="T60" fmla="*/ 242252 w 160"/>
                <a:gd name="T61" fmla="*/ 191168 h 152"/>
                <a:gd name="T62" fmla="*/ 242252 w 160"/>
                <a:gd name="T63" fmla="*/ 205874 h 152"/>
                <a:gd name="T64" fmla="*/ 207645 w 160"/>
                <a:gd name="T65" fmla="*/ 220579 h 15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52"/>
                <a:gd name="T101" fmla="*/ 160 w 160"/>
                <a:gd name="T102" fmla="*/ 152 h 15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52">
                  <a:moveTo>
                    <a:pt x="96" y="120"/>
                  </a:moveTo>
                  <a:lnTo>
                    <a:pt x="88" y="128"/>
                  </a:lnTo>
                  <a:lnTo>
                    <a:pt x="64" y="152"/>
                  </a:lnTo>
                  <a:lnTo>
                    <a:pt x="40" y="152"/>
                  </a:lnTo>
                  <a:lnTo>
                    <a:pt x="24" y="144"/>
                  </a:lnTo>
                  <a:lnTo>
                    <a:pt x="16" y="144"/>
                  </a:lnTo>
                  <a:lnTo>
                    <a:pt x="0" y="128"/>
                  </a:lnTo>
                  <a:lnTo>
                    <a:pt x="0" y="80"/>
                  </a:lnTo>
                  <a:lnTo>
                    <a:pt x="32" y="72"/>
                  </a:lnTo>
                  <a:lnTo>
                    <a:pt x="24" y="72"/>
                  </a:lnTo>
                  <a:lnTo>
                    <a:pt x="32" y="40"/>
                  </a:lnTo>
                  <a:lnTo>
                    <a:pt x="56" y="56"/>
                  </a:lnTo>
                  <a:lnTo>
                    <a:pt x="64" y="56"/>
                  </a:lnTo>
                  <a:lnTo>
                    <a:pt x="88" y="72"/>
                  </a:lnTo>
                  <a:lnTo>
                    <a:pt x="104" y="80"/>
                  </a:lnTo>
                  <a:lnTo>
                    <a:pt x="104" y="64"/>
                  </a:lnTo>
                  <a:lnTo>
                    <a:pt x="96" y="64"/>
                  </a:lnTo>
                  <a:lnTo>
                    <a:pt x="88" y="56"/>
                  </a:lnTo>
                  <a:lnTo>
                    <a:pt x="96" y="16"/>
                  </a:lnTo>
                  <a:lnTo>
                    <a:pt x="96" y="8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8"/>
                  </a:lnTo>
                  <a:lnTo>
                    <a:pt x="128" y="8"/>
                  </a:lnTo>
                  <a:lnTo>
                    <a:pt x="152" y="24"/>
                  </a:lnTo>
                  <a:lnTo>
                    <a:pt x="160" y="40"/>
                  </a:lnTo>
                  <a:lnTo>
                    <a:pt x="152" y="56"/>
                  </a:lnTo>
                  <a:lnTo>
                    <a:pt x="152" y="64"/>
                  </a:lnTo>
                  <a:lnTo>
                    <a:pt x="144" y="88"/>
                  </a:lnTo>
                  <a:lnTo>
                    <a:pt x="152" y="88"/>
                  </a:lnTo>
                  <a:lnTo>
                    <a:pt x="112" y="104"/>
                  </a:lnTo>
                  <a:lnTo>
                    <a:pt x="112" y="112"/>
                  </a:lnTo>
                  <a:lnTo>
                    <a:pt x="96" y="1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81">
              <a:extLst>
                <a:ext uri="{FF2B5EF4-FFF2-40B4-BE49-F238E27FC236}">
                  <a16:creationId xmlns:a16="http://schemas.microsoft.com/office/drawing/2014/main" id="{57E4EB35-E809-4C7B-922A-EFB11556C202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265025" y="4623646"/>
              <a:ext cx="370448" cy="574743"/>
            </a:xfrm>
            <a:custGeom>
              <a:avLst/>
              <a:gdLst>
                <a:gd name="T0" fmla="*/ 34552 w 136"/>
                <a:gd name="T1" fmla="*/ 442913 h 240"/>
                <a:gd name="T2" fmla="*/ 51827 w 136"/>
                <a:gd name="T3" fmla="*/ 442913 h 240"/>
                <a:gd name="T4" fmla="*/ 51827 w 136"/>
                <a:gd name="T5" fmla="*/ 428149 h 240"/>
                <a:gd name="T6" fmla="*/ 51827 w 136"/>
                <a:gd name="T7" fmla="*/ 413385 h 240"/>
                <a:gd name="T8" fmla="*/ 120930 w 136"/>
                <a:gd name="T9" fmla="*/ 383858 h 240"/>
                <a:gd name="T10" fmla="*/ 138206 w 136"/>
                <a:gd name="T11" fmla="*/ 324803 h 240"/>
                <a:gd name="T12" fmla="*/ 120930 w 136"/>
                <a:gd name="T13" fmla="*/ 280512 h 240"/>
                <a:gd name="T14" fmla="*/ 120930 w 136"/>
                <a:gd name="T15" fmla="*/ 265748 h 240"/>
                <a:gd name="T16" fmla="*/ 190033 w 136"/>
                <a:gd name="T17" fmla="*/ 191929 h 240"/>
                <a:gd name="T18" fmla="*/ 241861 w 136"/>
                <a:gd name="T19" fmla="*/ 177165 h 240"/>
                <a:gd name="T20" fmla="*/ 293688 w 136"/>
                <a:gd name="T21" fmla="*/ 132874 h 240"/>
                <a:gd name="T22" fmla="*/ 293688 w 136"/>
                <a:gd name="T23" fmla="*/ 0 h 240"/>
                <a:gd name="T24" fmla="*/ 259136 w 136"/>
                <a:gd name="T25" fmla="*/ 14764 h 240"/>
                <a:gd name="T26" fmla="*/ 172758 w 136"/>
                <a:gd name="T27" fmla="*/ 29528 h 240"/>
                <a:gd name="T28" fmla="*/ 138206 w 136"/>
                <a:gd name="T29" fmla="*/ 29528 h 240"/>
                <a:gd name="T30" fmla="*/ 120930 w 136"/>
                <a:gd name="T31" fmla="*/ 44291 h 240"/>
                <a:gd name="T32" fmla="*/ 120930 w 136"/>
                <a:gd name="T33" fmla="*/ 73819 h 240"/>
                <a:gd name="T34" fmla="*/ 155482 w 136"/>
                <a:gd name="T35" fmla="*/ 118110 h 240"/>
                <a:gd name="T36" fmla="*/ 155482 w 136"/>
                <a:gd name="T37" fmla="*/ 147638 h 240"/>
                <a:gd name="T38" fmla="*/ 138206 w 136"/>
                <a:gd name="T39" fmla="*/ 177165 h 240"/>
                <a:gd name="T40" fmla="*/ 103655 w 136"/>
                <a:gd name="T41" fmla="*/ 147638 h 240"/>
                <a:gd name="T42" fmla="*/ 120930 w 136"/>
                <a:gd name="T43" fmla="*/ 103346 h 240"/>
                <a:gd name="T44" fmla="*/ 86379 w 136"/>
                <a:gd name="T45" fmla="*/ 103346 h 240"/>
                <a:gd name="T46" fmla="*/ 86379 w 136"/>
                <a:gd name="T47" fmla="*/ 88583 h 240"/>
                <a:gd name="T48" fmla="*/ 0 w 136"/>
                <a:gd name="T49" fmla="*/ 118110 h 240"/>
                <a:gd name="T50" fmla="*/ 0 w 136"/>
                <a:gd name="T51" fmla="*/ 132874 h 240"/>
                <a:gd name="T52" fmla="*/ 0 w 136"/>
                <a:gd name="T53" fmla="*/ 147638 h 240"/>
                <a:gd name="T54" fmla="*/ 17276 w 136"/>
                <a:gd name="T55" fmla="*/ 147638 h 240"/>
                <a:gd name="T56" fmla="*/ 69103 w 136"/>
                <a:gd name="T57" fmla="*/ 162401 h 240"/>
                <a:gd name="T58" fmla="*/ 69103 w 136"/>
                <a:gd name="T59" fmla="*/ 191929 h 240"/>
                <a:gd name="T60" fmla="*/ 69103 w 136"/>
                <a:gd name="T61" fmla="*/ 265748 h 240"/>
                <a:gd name="T62" fmla="*/ 17276 w 136"/>
                <a:gd name="T63" fmla="*/ 339567 h 240"/>
                <a:gd name="T64" fmla="*/ 34552 w 136"/>
                <a:gd name="T65" fmla="*/ 428149 h 240"/>
                <a:gd name="T66" fmla="*/ 34552 w 136"/>
                <a:gd name="T67" fmla="*/ 442913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6"/>
                <a:gd name="T103" fmla="*/ 0 h 240"/>
                <a:gd name="T104" fmla="*/ 136 w 13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6" h="240">
                  <a:moveTo>
                    <a:pt x="16" y="240"/>
                  </a:moveTo>
                  <a:lnTo>
                    <a:pt x="24" y="240"/>
                  </a:lnTo>
                  <a:lnTo>
                    <a:pt x="24" y="232"/>
                  </a:lnTo>
                  <a:lnTo>
                    <a:pt x="24" y="224"/>
                  </a:lnTo>
                  <a:lnTo>
                    <a:pt x="56" y="208"/>
                  </a:lnTo>
                  <a:lnTo>
                    <a:pt x="64" y="176"/>
                  </a:lnTo>
                  <a:lnTo>
                    <a:pt x="56" y="152"/>
                  </a:lnTo>
                  <a:lnTo>
                    <a:pt x="56" y="144"/>
                  </a:lnTo>
                  <a:lnTo>
                    <a:pt x="88" y="104"/>
                  </a:lnTo>
                  <a:lnTo>
                    <a:pt x="112" y="96"/>
                  </a:lnTo>
                  <a:lnTo>
                    <a:pt x="136" y="72"/>
                  </a:lnTo>
                  <a:lnTo>
                    <a:pt x="136" y="0"/>
                  </a:lnTo>
                  <a:lnTo>
                    <a:pt x="120" y="8"/>
                  </a:lnTo>
                  <a:lnTo>
                    <a:pt x="80" y="16"/>
                  </a:lnTo>
                  <a:lnTo>
                    <a:pt x="64" y="16"/>
                  </a:lnTo>
                  <a:lnTo>
                    <a:pt x="56" y="24"/>
                  </a:lnTo>
                  <a:lnTo>
                    <a:pt x="56" y="40"/>
                  </a:lnTo>
                  <a:lnTo>
                    <a:pt x="72" y="64"/>
                  </a:lnTo>
                  <a:lnTo>
                    <a:pt x="72" y="80"/>
                  </a:lnTo>
                  <a:lnTo>
                    <a:pt x="64" y="96"/>
                  </a:lnTo>
                  <a:lnTo>
                    <a:pt x="48" y="80"/>
                  </a:lnTo>
                  <a:lnTo>
                    <a:pt x="56" y="56"/>
                  </a:lnTo>
                  <a:lnTo>
                    <a:pt x="40" y="56"/>
                  </a:lnTo>
                  <a:lnTo>
                    <a:pt x="40" y="48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8" y="80"/>
                  </a:lnTo>
                  <a:lnTo>
                    <a:pt x="32" y="88"/>
                  </a:lnTo>
                  <a:lnTo>
                    <a:pt x="32" y="104"/>
                  </a:lnTo>
                  <a:lnTo>
                    <a:pt x="32" y="144"/>
                  </a:lnTo>
                  <a:lnTo>
                    <a:pt x="8" y="184"/>
                  </a:lnTo>
                  <a:lnTo>
                    <a:pt x="16" y="232"/>
                  </a:lnTo>
                  <a:lnTo>
                    <a:pt x="16" y="2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82">
              <a:extLst>
                <a:ext uri="{FF2B5EF4-FFF2-40B4-BE49-F238E27FC236}">
                  <a16:creationId xmlns:a16="http://schemas.microsoft.com/office/drawing/2014/main" id="{1FC4EA6D-F38B-4552-B607-515A1EE94CCB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51129" y="4586566"/>
              <a:ext cx="110134" cy="267801"/>
            </a:xfrm>
            <a:custGeom>
              <a:avLst/>
              <a:gdLst>
                <a:gd name="T0" fmla="*/ 17463 w 40"/>
                <a:gd name="T1" fmla="*/ 0 h 112"/>
                <a:gd name="T2" fmla="*/ 34925 w 40"/>
                <a:gd name="T3" fmla="*/ 29482 h 112"/>
                <a:gd name="T4" fmla="*/ 17463 w 40"/>
                <a:gd name="T5" fmla="*/ 58964 h 112"/>
                <a:gd name="T6" fmla="*/ 17463 w 40"/>
                <a:gd name="T7" fmla="*/ 73705 h 112"/>
                <a:gd name="T8" fmla="*/ 0 w 40"/>
                <a:gd name="T9" fmla="*/ 117929 h 112"/>
                <a:gd name="T10" fmla="*/ 17463 w 40"/>
                <a:gd name="T11" fmla="*/ 117929 h 112"/>
                <a:gd name="T12" fmla="*/ 17463 w 40"/>
                <a:gd name="T13" fmla="*/ 132670 h 112"/>
                <a:gd name="T14" fmla="*/ 52388 w 40"/>
                <a:gd name="T15" fmla="*/ 132670 h 112"/>
                <a:gd name="T16" fmla="*/ 34925 w 40"/>
                <a:gd name="T17" fmla="*/ 176893 h 112"/>
                <a:gd name="T18" fmla="*/ 69850 w 40"/>
                <a:gd name="T19" fmla="*/ 206375 h 112"/>
                <a:gd name="T20" fmla="*/ 87313 w 40"/>
                <a:gd name="T21" fmla="*/ 176893 h 112"/>
                <a:gd name="T22" fmla="*/ 87313 w 40"/>
                <a:gd name="T23" fmla="*/ 147411 h 112"/>
                <a:gd name="T24" fmla="*/ 52388 w 40"/>
                <a:gd name="T25" fmla="*/ 103188 h 112"/>
                <a:gd name="T26" fmla="*/ 52388 w 40"/>
                <a:gd name="T27" fmla="*/ 73705 h 112"/>
                <a:gd name="T28" fmla="*/ 69850 w 40"/>
                <a:gd name="T29" fmla="*/ 58964 h 112"/>
                <a:gd name="T30" fmla="*/ 52388 w 40"/>
                <a:gd name="T31" fmla="*/ 14741 h 112"/>
                <a:gd name="T32" fmla="*/ 34925 w 40"/>
                <a:gd name="T33" fmla="*/ 0 h 112"/>
                <a:gd name="T34" fmla="*/ 17463 w 40"/>
                <a:gd name="T35" fmla="*/ 0 h 1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0"/>
                <a:gd name="T55" fmla="*/ 0 h 112"/>
                <a:gd name="T56" fmla="*/ 40 w 40"/>
                <a:gd name="T57" fmla="*/ 112 h 1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0" h="112">
                  <a:moveTo>
                    <a:pt x="8" y="0"/>
                  </a:moveTo>
                  <a:lnTo>
                    <a:pt x="16" y="16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0" y="64"/>
                  </a:lnTo>
                  <a:lnTo>
                    <a:pt x="8" y="64"/>
                  </a:lnTo>
                  <a:lnTo>
                    <a:pt x="8" y="72"/>
                  </a:lnTo>
                  <a:lnTo>
                    <a:pt x="24" y="72"/>
                  </a:lnTo>
                  <a:lnTo>
                    <a:pt x="16" y="96"/>
                  </a:lnTo>
                  <a:lnTo>
                    <a:pt x="32" y="112"/>
                  </a:lnTo>
                  <a:lnTo>
                    <a:pt x="40" y="96"/>
                  </a:lnTo>
                  <a:lnTo>
                    <a:pt x="40" y="80"/>
                  </a:lnTo>
                  <a:lnTo>
                    <a:pt x="24" y="56"/>
                  </a:lnTo>
                  <a:lnTo>
                    <a:pt x="24" y="40"/>
                  </a:lnTo>
                  <a:lnTo>
                    <a:pt x="32" y="32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83">
              <a:extLst>
                <a:ext uri="{FF2B5EF4-FFF2-40B4-BE49-F238E27FC236}">
                  <a16:creationId xmlns:a16="http://schemas.microsoft.com/office/drawing/2014/main" id="{FAB6B609-524C-4B54-B162-EE0BAC57A7E8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7068788" y="4796687"/>
              <a:ext cx="282342" cy="267801"/>
            </a:xfrm>
            <a:custGeom>
              <a:avLst/>
              <a:gdLst>
                <a:gd name="T0" fmla="*/ 120528 w 104"/>
                <a:gd name="T1" fmla="*/ 191634 h 112"/>
                <a:gd name="T2" fmla="*/ 86092 w 104"/>
                <a:gd name="T3" fmla="*/ 176893 h 112"/>
                <a:gd name="T4" fmla="*/ 68873 w 104"/>
                <a:gd name="T5" fmla="*/ 147411 h 112"/>
                <a:gd name="T6" fmla="*/ 34437 w 104"/>
                <a:gd name="T7" fmla="*/ 117929 h 112"/>
                <a:gd name="T8" fmla="*/ 0 w 104"/>
                <a:gd name="T9" fmla="*/ 73705 h 112"/>
                <a:gd name="T10" fmla="*/ 51655 w 104"/>
                <a:gd name="T11" fmla="*/ 73705 h 112"/>
                <a:gd name="T12" fmla="*/ 103310 w 104"/>
                <a:gd name="T13" fmla="*/ 29482 h 112"/>
                <a:gd name="T14" fmla="*/ 120528 w 104"/>
                <a:gd name="T15" fmla="*/ 14741 h 112"/>
                <a:gd name="T16" fmla="*/ 154965 w 104"/>
                <a:gd name="T17" fmla="*/ 0 h 112"/>
                <a:gd name="T18" fmla="*/ 154965 w 104"/>
                <a:gd name="T19" fmla="*/ 14741 h 112"/>
                <a:gd name="T20" fmla="*/ 172183 w 104"/>
                <a:gd name="T21" fmla="*/ 14741 h 112"/>
                <a:gd name="T22" fmla="*/ 223838 w 104"/>
                <a:gd name="T23" fmla="*/ 29482 h 112"/>
                <a:gd name="T24" fmla="*/ 223838 w 104"/>
                <a:gd name="T25" fmla="*/ 58964 h 112"/>
                <a:gd name="T26" fmla="*/ 223838 w 104"/>
                <a:gd name="T27" fmla="*/ 132670 h 112"/>
                <a:gd name="T28" fmla="*/ 172183 w 104"/>
                <a:gd name="T29" fmla="*/ 206375 h 112"/>
                <a:gd name="T30" fmla="*/ 154965 w 104"/>
                <a:gd name="T31" fmla="*/ 191634 h 112"/>
                <a:gd name="T32" fmla="*/ 120528 w 104"/>
                <a:gd name="T33" fmla="*/ 191634 h 1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4"/>
                <a:gd name="T52" fmla="*/ 0 h 112"/>
                <a:gd name="T53" fmla="*/ 104 w 104"/>
                <a:gd name="T54" fmla="*/ 112 h 11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4" h="112">
                  <a:moveTo>
                    <a:pt x="56" y="104"/>
                  </a:moveTo>
                  <a:lnTo>
                    <a:pt x="40" y="96"/>
                  </a:lnTo>
                  <a:lnTo>
                    <a:pt x="32" y="80"/>
                  </a:lnTo>
                  <a:lnTo>
                    <a:pt x="16" y="64"/>
                  </a:lnTo>
                  <a:lnTo>
                    <a:pt x="0" y="40"/>
                  </a:lnTo>
                  <a:lnTo>
                    <a:pt x="24" y="40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72" y="0"/>
                  </a:lnTo>
                  <a:lnTo>
                    <a:pt x="72" y="8"/>
                  </a:lnTo>
                  <a:lnTo>
                    <a:pt x="80" y="8"/>
                  </a:lnTo>
                  <a:lnTo>
                    <a:pt x="104" y="16"/>
                  </a:lnTo>
                  <a:lnTo>
                    <a:pt x="104" y="32"/>
                  </a:lnTo>
                  <a:lnTo>
                    <a:pt x="104" y="72"/>
                  </a:lnTo>
                  <a:lnTo>
                    <a:pt x="80" y="112"/>
                  </a:lnTo>
                  <a:lnTo>
                    <a:pt x="72" y="104"/>
                  </a:lnTo>
                  <a:lnTo>
                    <a:pt x="56" y="1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 84">
              <a:extLst>
                <a:ext uri="{FF2B5EF4-FFF2-40B4-BE49-F238E27FC236}">
                  <a16:creationId xmlns:a16="http://schemas.microsoft.com/office/drawing/2014/main" id="{526B4995-1AD7-4215-A0F9-3927A3D0774A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6762417" y="5045947"/>
              <a:ext cx="566686" cy="459382"/>
            </a:xfrm>
            <a:custGeom>
              <a:avLst/>
              <a:gdLst>
                <a:gd name="T0" fmla="*/ 362866 w 208"/>
                <a:gd name="T1" fmla="*/ 0 h 192"/>
                <a:gd name="T2" fmla="*/ 397425 w 208"/>
                <a:gd name="T3" fmla="*/ 0 h 192"/>
                <a:gd name="T4" fmla="*/ 414704 w 208"/>
                <a:gd name="T5" fmla="*/ 14751 h 192"/>
                <a:gd name="T6" fmla="*/ 431984 w 208"/>
                <a:gd name="T7" fmla="*/ 103254 h 192"/>
                <a:gd name="T8" fmla="*/ 414704 w 208"/>
                <a:gd name="T9" fmla="*/ 103254 h 192"/>
                <a:gd name="T10" fmla="*/ 397425 w 208"/>
                <a:gd name="T11" fmla="*/ 132755 h 192"/>
                <a:gd name="T12" fmla="*/ 414704 w 208"/>
                <a:gd name="T13" fmla="*/ 132755 h 192"/>
                <a:gd name="T14" fmla="*/ 431984 w 208"/>
                <a:gd name="T15" fmla="*/ 118004 h 192"/>
                <a:gd name="T16" fmla="*/ 449263 w 208"/>
                <a:gd name="T17" fmla="*/ 118004 h 192"/>
                <a:gd name="T18" fmla="*/ 449263 w 208"/>
                <a:gd name="T19" fmla="*/ 132755 h 192"/>
                <a:gd name="T20" fmla="*/ 431984 w 208"/>
                <a:gd name="T21" fmla="*/ 177007 h 192"/>
                <a:gd name="T22" fmla="*/ 414704 w 208"/>
                <a:gd name="T23" fmla="*/ 191757 h 192"/>
                <a:gd name="T24" fmla="*/ 380146 w 208"/>
                <a:gd name="T25" fmla="*/ 236009 h 192"/>
                <a:gd name="T26" fmla="*/ 328308 w 208"/>
                <a:gd name="T27" fmla="*/ 295011 h 192"/>
                <a:gd name="T28" fmla="*/ 276470 w 208"/>
                <a:gd name="T29" fmla="*/ 324512 h 192"/>
                <a:gd name="T30" fmla="*/ 224632 w 208"/>
                <a:gd name="T31" fmla="*/ 339262 h 192"/>
                <a:gd name="T32" fmla="*/ 155514 w 208"/>
                <a:gd name="T33" fmla="*/ 324512 h 192"/>
                <a:gd name="T34" fmla="*/ 86397 w 208"/>
                <a:gd name="T35" fmla="*/ 354013 h 192"/>
                <a:gd name="T36" fmla="*/ 69117 w 208"/>
                <a:gd name="T37" fmla="*/ 354013 h 192"/>
                <a:gd name="T38" fmla="*/ 51838 w 208"/>
                <a:gd name="T39" fmla="*/ 324512 h 192"/>
                <a:gd name="T40" fmla="*/ 51838 w 208"/>
                <a:gd name="T41" fmla="*/ 339262 h 192"/>
                <a:gd name="T42" fmla="*/ 34559 w 208"/>
                <a:gd name="T43" fmla="*/ 295011 h 192"/>
                <a:gd name="T44" fmla="*/ 51838 w 208"/>
                <a:gd name="T45" fmla="*/ 295011 h 192"/>
                <a:gd name="T46" fmla="*/ 34559 w 208"/>
                <a:gd name="T47" fmla="*/ 265510 h 192"/>
                <a:gd name="T48" fmla="*/ 0 w 208"/>
                <a:gd name="T49" fmla="*/ 191757 h 192"/>
                <a:gd name="T50" fmla="*/ 0 w 208"/>
                <a:gd name="T51" fmla="*/ 177007 h 192"/>
                <a:gd name="T52" fmla="*/ 0 w 208"/>
                <a:gd name="T53" fmla="*/ 162256 h 192"/>
                <a:gd name="T54" fmla="*/ 17279 w 208"/>
                <a:gd name="T55" fmla="*/ 177007 h 192"/>
                <a:gd name="T56" fmla="*/ 34559 w 208"/>
                <a:gd name="T57" fmla="*/ 191757 h 192"/>
                <a:gd name="T58" fmla="*/ 69117 w 208"/>
                <a:gd name="T59" fmla="*/ 191757 h 192"/>
                <a:gd name="T60" fmla="*/ 86397 w 208"/>
                <a:gd name="T61" fmla="*/ 177007 h 192"/>
                <a:gd name="T62" fmla="*/ 86397 w 208"/>
                <a:gd name="T63" fmla="*/ 73753 h 192"/>
                <a:gd name="T64" fmla="*/ 120955 w 208"/>
                <a:gd name="T65" fmla="*/ 88503 h 192"/>
                <a:gd name="T66" fmla="*/ 103676 w 208"/>
                <a:gd name="T67" fmla="*/ 118004 h 192"/>
                <a:gd name="T68" fmla="*/ 120955 w 208"/>
                <a:gd name="T69" fmla="*/ 132755 h 192"/>
                <a:gd name="T70" fmla="*/ 155514 w 208"/>
                <a:gd name="T71" fmla="*/ 118004 h 192"/>
                <a:gd name="T72" fmla="*/ 190073 w 208"/>
                <a:gd name="T73" fmla="*/ 88503 h 192"/>
                <a:gd name="T74" fmla="*/ 224632 w 208"/>
                <a:gd name="T75" fmla="*/ 88503 h 192"/>
                <a:gd name="T76" fmla="*/ 241911 w 208"/>
                <a:gd name="T77" fmla="*/ 88503 h 192"/>
                <a:gd name="T78" fmla="*/ 311028 w 208"/>
                <a:gd name="T79" fmla="*/ 29501 h 192"/>
                <a:gd name="T80" fmla="*/ 362866 w 208"/>
                <a:gd name="T81" fmla="*/ 0 h 19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8"/>
                <a:gd name="T124" fmla="*/ 0 h 192"/>
                <a:gd name="T125" fmla="*/ 208 w 208"/>
                <a:gd name="T126" fmla="*/ 192 h 19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8" h="192">
                  <a:moveTo>
                    <a:pt x="168" y="0"/>
                  </a:moveTo>
                  <a:lnTo>
                    <a:pt x="184" y="0"/>
                  </a:lnTo>
                  <a:lnTo>
                    <a:pt x="192" y="8"/>
                  </a:lnTo>
                  <a:lnTo>
                    <a:pt x="200" y="56"/>
                  </a:lnTo>
                  <a:lnTo>
                    <a:pt x="192" y="56"/>
                  </a:lnTo>
                  <a:lnTo>
                    <a:pt x="184" y="72"/>
                  </a:lnTo>
                  <a:lnTo>
                    <a:pt x="192" y="72"/>
                  </a:lnTo>
                  <a:lnTo>
                    <a:pt x="200" y="64"/>
                  </a:lnTo>
                  <a:lnTo>
                    <a:pt x="208" y="64"/>
                  </a:lnTo>
                  <a:lnTo>
                    <a:pt x="208" y="72"/>
                  </a:lnTo>
                  <a:lnTo>
                    <a:pt x="200" y="96"/>
                  </a:lnTo>
                  <a:lnTo>
                    <a:pt x="192" y="104"/>
                  </a:lnTo>
                  <a:lnTo>
                    <a:pt x="176" y="128"/>
                  </a:lnTo>
                  <a:lnTo>
                    <a:pt x="152" y="160"/>
                  </a:lnTo>
                  <a:lnTo>
                    <a:pt x="128" y="176"/>
                  </a:lnTo>
                  <a:lnTo>
                    <a:pt x="104" y="184"/>
                  </a:lnTo>
                  <a:lnTo>
                    <a:pt x="72" y="176"/>
                  </a:lnTo>
                  <a:lnTo>
                    <a:pt x="40" y="192"/>
                  </a:lnTo>
                  <a:lnTo>
                    <a:pt x="32" y="192"/>
                  </a:lnTo>
                  <a:lnTo>
                    <a:pt x="24" y="176"/>
                  </a:lnTo>
                  <a:lnTo>
                    <a:pt x="24" y="184"/>
                  </a:lnTo>
                  <a:lnTo>
                    <a:pt x="16" y="160"/>
                  </a:lnTo>
                  <a:lnTo>
                    <a:pt x="24" y="160"/>
                  </a:lnTo>
                  <a:lnTo>
                    <a:pt x="16" y="144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96"/>
                  </a:lnTo>
                  <a:lnTo>
                    <a:pt x="16" y="104"/>
                  </a:lnTo>
                  <a:lnTo>
                    <a:pt x="32" y="104"/>
                  </a:lnTo>
                  <a:lnTo>
                    <a:pt x="40" y="96"/>
                  </a:lnTo>
                  <a:lnTo>
                    <a:pt x="40" y="40"/>
                  </a:lnTo>
                  <a:lnTo>
                    <a:pt x="56" y="48"/>
                  </a:lnTo>
                  <a:lnTo>
                    <a:pt x="48" y="64"/>
                  </a:lnTo>
                  <a:lnTo>
                    <a:pt x="56" y="72"/>
                  </a:lnTo>
                  <a:lnTo>
                    <a:pt x="72" y="64"/>
                  </a:lnTo>
                  <a:lnTo>
                    <a:pt x="88" y="48"/>
                  </a:lnTo>
                  <a:lnTo>
                    <a:pt x="104" y="48"/>
                  </a:lnTo>
                  <a:lnTo>
                    <a:pt x="112" y="48"/>
                  </a:lnTo>
                  <a:lnTo>
                    <a:pt x="144" y="16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85">
              <a:extLst>
                <a:ext uri="{FF2B5EF4-FFF2-40B4-BE49-F238E27FC236}">
                  <a16:creationId xmlns:a16="http://schemas.microsoft.com/office/drawing/2014/main" id="{ECCE3770-D8CA-4525-AA71-1CF0C6148C81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6588207" y="4854367"/>
              <a:ext cx="480581" cy="440841"/>
            </a:xfrm>
            <a:custGeom>
              <a:avLst/>
              <a:gdLst>
                <a:gd name="T0" fmla="*/ 225136 w 176"/>
                <a:gd name="T1" fmla="*/ 221560 h 184"/>
                <a:gd name="T2" fmla="*/ 225136 w 176"/>
                <a:gd name="T3" fmla="*/ 147707 h 184"/>
                <a:gd name="T4" fmla="*/ 259773 w 176"/>
                <a:gd name="T5" fmla="*/ 132936 h 184"/>
                <a:gd name="T6" fmla="*/ 259773 w 176"/>
                <a:gd name="T7" fmla="*/ 44312 h 184"/>
                <a:gd name="T8" fmla="*/ 329045 w 176"/>
                <a:gd name="T9" fmla="*/ 29541 h 184"/>
                <a:gd name="T10" fmla="*/ 329045 w 176"/>
                <a:gd name="T11" fmla="*/ 44312 h 184"/>
                <a:gd name="T12" fmla="*/ 346364 w 176"/>
                <a:gd name="T13" fmla="*/ 29541 h 184"/>
                <a:gd name="T14" fmla="*/ 381000 w 176"/>
                <a:gd name="T15" fmla="*/ 29541 h 184"/>
                <a:gd name="T16" fmla="*/ 346364 w 176"/>
                <a:gd name="T17" fmla="*/ 14771 h 184"/>
                <a:gd name="T18" fmla="*/ 329045 w 176"/>
                <a:gd name="T19" fmla="*/ 14771 h 184"/>
                <a:gd name="T20" fmla="*/ 277091 w 176"/>
                <a:gd name="T21" fmla="*/ 29541 h 184"/>
                <a:gd name="T22" fmla="*/ 207818 w 176"/>
                <a:gd name="T23" fmla="*/ 29541 h 184"/>
                <a:gd name="T24" fmla="*/ 190500 w 176"/>
                <a:gd name="T25" fmla="*/ 14771 h 184"/>
                <a:gd name="T26" fmla="*/ 69273 w 176"/>
                <a:gd name="T27" fmla="*/ 14771 h 184"/>
                <a:gd name="T28" fmla="*/ 51955 w 176"/>
                <a:gd name="T29" fmla="*/ 0 h 184"/>
                <a:gd name="T30" fmla="*/ 0 w 176"/>
                <a:gd name="T31" fmla="*/ 14771 h 184"/>
                <a:gd name="T32" fmla="*/ 0 w 176"/>
                <a:gd name="T33" fmla="*/ 29541 h 184"/>
                <a:gd name="T34" fmla="*/ 86591 w 176"/>
                <a:gd name="T35" fmla="*/ 147707 h 184"/>
                <a:gd name="T36" fmla="*/ 86591 w 176"/>
                <a:gd name="T37" fmla="*/ 192018 h 184"/>
                <a:gd name="T38" fmla="*/ 103909 w 176"/>
                <a:gd name="T39" fmla="*/ 295413 h 184"/>
                <a:gd name="T40" fmla="*/ 138545 w 176"/>
                <a:gd name="T41" fmla="*/ 324954 h 184"/>
                <a:gd name="T42" fmla="*/ 138545 w 176"/>
                <a:gd name="T43" fmla="*/ 310184 h 184"/>
                <a:gd name="T44" fmla="*/ 155864 w 176"/>
                <a:gd name="T45" fmla="*/ 324954 h 184"/>
                <a:gd name="T46" fmla="*/ 173182 w 176"/>
                <a:gd name="T47" fmla="*/ 339725 h 184"/>
                <a:gd name="T48" fmla="*/ 207818 w 176"/>
                <a:gd name="T49" fmla="*/ 339725 h 184"/>
                <a:gd name="T50" fmla="*/ 225136 w 176"/>
                <a:gd name="T51" fmla="*/ 324954 h 184"/>
                <a:gd name="T52" fmla="*/ 225136 w 176"/>
                <a:gd name="T53" fmla="*/ 221560 h 18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76"/>
                <a:gd name="T82" fmla="*/ 0 h 184"/>
                <a:gd name="T83" fmla="*/ 176 w 176"/>
                <a:gd name="T84" fmla="*/ 184 h 18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76" h="184">
                  <a:moveTo>
                    <a:pt x="104" y="120"/>
                  </a:moveTo>
                  <a:lnTo>
                    <a:pt x="104" y="80"/>
                  </a:lnTo>
                  <a:lnTo>
                    <a:pt x="120" y="72"/>
                  </a:lnTo>
                  <a:lnTo>
                    <a:pt x="120" y="24"/>
                  </a:lnTo>
                  <a:lnTo>
                    <a:pt x="152" y="16"/>
                  </a:lnTo>
                  <a:lnTo>
                    <a:pt x="152" y="24"/>
                  </a:lnTo>
                  <a:lnTo>
                    <a:pt x="160" y="16"/>
                  </a:lnTo>
                  <a:lnTo>
                    <a:pt x="176" y="16"/>
                  </a:lnTo>
                  <a:lnTo>
                    <a:pt x="160" y="8"/>
                  </a:lnTo>
                  <a:lnTo>
                    <a:pt x="152" y="8"/>
                  </a:lnTo>
                  <a:lnTo>
                    <a:pt x="128" y="16"/>
                  </a:lnTo>
                  <a:lnTo>
                    <a:pt x="96" y="16"/>
                  </a:lnTo>
                  <a:lnTo>
                    <a:pt x="88" y="8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40" y="80"/>
                  </a:lnTo>
                  <a:lnTo>
                    <a:pt x="40" y="104"/>
                  </a:lnTo>
                  <a:lnTo>
                    <a:pt x="48" y="160"/>
                  </a:lnTo>
                  <a:lnTo>
                    <a:pt x="64" y="176"/>
                  </a:lnTo>
                  <a:lnTo>
                    <a:pt x="64" y="168"/>
                  </a:lnTo>
                  <a:lnTo>
                    <a:pt x="72" y="176"/>
                  </a:lnTo>
                  <a:lnTo>
                    <a:pt x="80" y="184"/>
                  </a:lnTo>
                  <a:lnTo>
                    <a:pt x="96" y="184"/>
                  </a:lnTo>
                  <a:lnTo>
                    <a:pt x="104" y="176"/>
                  </a:lnTo>
                  <a:lnTo>
                    <a:pt x="104" y="1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eform 86">
              <a:extLst>
                <a:ext uri="{FF2B5EF4-FFF2-40B4-BE49-F238E27FC236}">
                  <a16:creationId xmlns:a16="http://schemas.microsoft.com/office/drawing/2014/main" id="{5FB36551-5EF1-4C8B-8BE9-F519E5EC6411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6588207" y="4452665"/>
              <a:ext cx="458555" cy="438782"/>
            </a:xfrm>
            <a:custGeom>
              <a:avLst/>
              <a:gdLst>
                <a:gd name="T0" fmla="*/ 51934 w 168"/>
                <a:gd name="T1" fmla="*/ 0 h 184"/>
                <a:gd name="T2" fmla="*/ 121179 w 168"/>
                <a:gd name="T3" fmla="*/ 0 h 184"/>
                <a:gd name="T4" fmla="*/ 138491 w 168"/>
                <a:gd name="T5" fmla="*/ 0 h 184"/>
                <a:gd name="T6" fmla="*/ 155802 w 168"/>
                <a:gd name="T7" fmla="*/ 44105 h 184"/>
                <a:gd name="T8" fmla="*/ 173113 w 168"/>
                <a:gd name="T9" fmla="*/ 58807 h 184"/>
                <a:gd name="T10" fmla="*/ 225047 w 168"/>
                <a:gd name="T11" fmla="*/ 58807 h 184"/>
                <a:gd name="T12" fmla="*/ 225047 w 168"/>
                <a:gd name="T13" fmla="*/ 29403 h 184"/>
                <a:gd name="T14" fmla="*/ 259670 w 168"/>
                <a:gd name="T15" fmla="*/ 29403 h 184"/>
                <a:gd name="T16" fmla="*/ 294293 w 168"/>
                <a:gd name="T17" fmla="*/ 44105 h 184"/>
                <a:gd name="T18" fmla="*/ 294293 w 168"/>
                <a:gd name="T19" fmla="*/ 102912 h 184"/>
                <a:gd name="T20" fmla="*/ 311604 w 168"/>
                <a:gd name="T21" fmla="*/ 132315 h 184"/>
                <a:gd name="T22" fmla="*/ 294293 w 168"/>
                <a:gd name="T23" fmla="*/ 147017 h 184"/>
                <a:gd name="T24" fmla="*/ 363538 w 168"/>
                <a:gd name="T25" fmla="*/ 132315 h 184"/>
                <a:gd name="T26" fmla="*/ 346227 w 168"/>
                <a:gd name="T27" fmla="*/ 191121 h 184"/>
                <a:gd name="T28" fmla="*/ 363538 w 168"/>
                <a:gd name="T29" fmla="*/ 191121 h 184"/>
                <a:gd name="T30" fmla="*/ 294293 w 168"/>
                <a:gd name="T31" fmla="*/ 205823 h 184"/>
                <a:gd name="T32" fmla="*/ 294293 w 168"/>
                <a:gd name="T33" fmla="*/ 294033 h 184"/>
                <a:gd name="T34" fmla="*/ 328915 w 168"/>
                <a:gd name="T35" fmla="*/ 323436 h 184"/>
                <a:gd name="T36" fmla="*/ 276981 w 168"/>
                <a:gd name="T37" fmla="*/ 338138 h 184"/>
                <a:gd name="T38" fmla="*/ 207736 w 168"/>
                <a:gd name="T39" fmla="*/ 338138 h 184"/>
                <a:gd name="T40" fmla="*/ 190425 w 168"/>
                <a:gd name="T41" fmla="*/ 323436 h 184"/>
                <a:gd name="T42" fmla="*/ 69245 w 168"/>
                <a:gd name="T43" fmla="*/ 323436 h 184"/>
                <a:gd name="T44" fmla="*/ 51934 w 168"/>
                <a:gd name="T45" fmla="*/ 308735 h 184"/>
                <a:gd name="T46" fmla="*/ 0 w 168"/>
                <a:gd name="T47" fmla="*/ 323436 h 184"/>
                <a:gd name="T48" fmla="*/ 0 w 168"/>
                <a:gd name="T49" fmla="*/ 279331 h 184"/>
                <a:gd name="T50" fmla="*/ 34623 w 168"/>
                <a:gd name="T51" fmla="*/ 205823 h 184"/>
                <a:gd name="T52" fmla="*/ 51934 w 168"/>
                <a:gd name="T53" fmla="*/ 176420 h 184"/>
                <a:gd name="T54" fmla="*/ 69245 w 168"/>
                <a:gd name="T55" fmla="*/ 147017 h 184"/>
                <a:gd name="T56" fmla="*/ 34623 w 168"/>
                <a:gd name="T57" fmla="*/ 88210 h 184"/>
                <a:gd name="T58" fmla="*/ 51934 w 168"/>
                <a:gd name="T59" fmla="*/ 73508 h 184"/>
                <a:gd name="T60" fmla="*/ 17311 w 168"/>
                <a:gd name="T61" fmla="*/ 14702 h 184"/>
                <a:gd name="T62" fmla="*/ 51934 w 168"/>
                <a:gd name="T63" fmla="*/ 0 h 18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8"/>
                <a:gd name="T97" fmla="*/ 0 h 184"/>
                <a:gd name="T98" fmla="*/ 168 w 168"/>
                <a:gd name="T99" fmla="*/ 184 h 18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8" h="184">
                  <a:moveTo>
                    <a:pt x="24" y="0"/>
                  </a:moveTo>
                  <a:lnTo>
                    <a:pt x="56" y="0"/>
                  </a:lnTo>
                  <a:lnTo>
                    <a:pt x="64" y="0"/>
                  </a:lnTo>
                  <a:lnTo>
                    <a:pt x="72" y="24"/>
                  </a:lnTo>
                  <a:lnTo>
                    <a:pt x="80" y="32"/>
                  </a:lnTo>
                  <a:lnTo>
                    <a:pt x="104" y="32"/>
                  </a:lnTo>
                  <a:lnTo>
                    <a:pt x="104" y="16"/>
                  </a:lnTo>
                  <a:lnTo>
                    <a:pt x="120" y="16"/>
                  </a:lnTo>
                  <a:lnTo>
                    <a:pt x="136" y="24"/>
                  </a:lnTo>
                  <a:lnTo>
                    <a:pt x="136" y="56"/>
                  </a:lnTo>
                  <a:lnTo>
                    <a:pt x="144" y="72"/>
                  </a:lnTo>
                  <a:lnTo>
                    <a:pt x="136" y="80"/>
                  </a:lnTo>
                  <a:lnTo>
                    <a:pt x="168" y="72"/>
                  </a:lnTo>
                  <a:lnTo>
                    <a:pt x="160" y="104"/>
                  </a:lnTo>
                  <a:lnTo>
                    <a:pt x="168" y="104"/>
                  </a:lnTo>
                  <a:lnTo>
                    <a:pt x="136" y="112"/>
                  </a:lnTo>
                  <a:lnTo>
                    <a:pt x="136" y="160"/>
                  </a:lnTo>
                  <a:lnTo>
                    <a:pt x="152" y="176"/>
                  </a:lnTo>
                  <a:lnTo>
                    <a:pt x="128" y="184"/>
                  </a:lnTo>
                  <a:lnTo>
                    <a:pt x="96" y="184"/>
                  </a:lnTo>
                  <a:lnTo>
                    <a:pt x="88" y="176"/>
                  </a:lnTo>
                  <a:lnTo>
                    <a:pt x="32" y="176"/>
                  </a:lnTo>
                  <a:lnTo>
                    <a:pt x="24" y="168"/>
                  </a:lnTo>
                  <a:lnTo>
                    <a:pt x="0" y="176"/>
                  </a:lnTo>
                  <a:lnTo>
                    <a:pt x="0" y="152"/>
                  </a:lnTo>
                  <a:lnTo>
                    <a:pt x="16" y="112"/>
                  </a:lnTo>
                  <a:lnTo>
                    <a:pt x="24" y="96"/>
                  </a:lnTo>
                  <a:lnTo>
                    <a:pt x="32" y="80"/>
                  </a:lnTo>
                  <a:lnTo>
                    <a:pt x="16" y="48"/>
                  </a:lnTo>
                  <a:lnTo>
                    <a:pt x="24" y="40"/>
                  </a:lnTo>
                  <a:lnTo>
                    <a:pt x="8" y="8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87">
              <a:extLst>
                <a:ext uri="{FF2B5EF4-FFF2-40B4-BE49-F238E27FC236}">
                  <a16:creationId xmlns:a16="http://schemas.microsoft.com/office/drawing/2014/main" id="{45BBBAF1-FBC1-4506-8A3F-81F82167FF31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6610233" y="4394985"/>
              <a:ext cx="22027" cy="57680"/>
            </a:xfrm>
            <a:custGeom>
              <a:avLst/>
              <a:gdLst>
                <a:gd name="T0" fmla="*/ 17463 w 8"/>
                <a:gd name="T1" fmla="*/ 14817 h 24"/>
                <a:gd name="T2" fmla="*/ 0 w 8"/>
                <a:gd name="T3" fmla="*/ 14817 h 24"/>
                <a:gd name="T4" fmla="*/ 0 w 8"/>
                <a:gd name="T5" fmla="*/ 44450 h 24"/>
                <a:gd name="T6" fmla="*/ 0 w 8"/>
                <a:gd name="T7" fmla="*/ 29633 h 24"/>
                <a:gd name="T8" fmla="*/ 0 w 8"/>
                <a:gd name="T9" fmla="*/ 14817 h 24"/>
                <a:gd name="T10" fmla="*/ 17463 w 8"/>
                <a:gd name="T11" fmla="*/ 0 h 24"/>
                <a:gd name="T12" fmla="*/ 17463 w 8"/>
                <a:gd name="T13" fmla="*/ 1481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24"/>
                <a:gd name="T23" fmla="*/ 8 w 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24">
                  <a:moveTo>
                    <a:pt x="8" y="8"/>
                  </a:moveTo>
                  <a:lnTo>
                    <a:pt x="0" y="8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88">
              <a:extLst>
                <a:ext uri="{FF2B5EF4-FFF2-40B4-BE49-F238E27FC236}">
                  <a16:creationId xmlns:a16="http://schemas.microsoft.com/office/drawing/2014/main" id="{FD3F4A01-BCF4-4874-A1B8-E447F288A126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6480077" y="3762563"/>
              <a:ext cx="260315" cy="422302"/>
            </a:xfrm>
            <a:custGeom>
              <a:avLst/>
              <a:gdLst>
                <a:gd name="T0" fmla="*/ 154781 w 96"/>
                <a:gd name="T1" fmla="*/ 0 h 176"/>
                <a:gd name="T2" fmla="*/ 154781 w 96"/>
                <a:gd name="T3" fmla="*/ 14793 h 176"/>
                <a:gd name="T4" fmla="*/ 154781 w 96"/>
                <a:gd name="T5" fmla="*/ 44378 h 176"/>
                <a:gd name="T6" fmla="*/ 137583 w 96"/>
                <a:gd name="T7" fmla="*/ 59171 h 176"/>
                <a:gd name="T8" fmla="*/ 120385 w 96"/>
                <a:gd name="T9" fmla="*/ 118341 h 176"/>
                <a:gd name="T10" fmla="*/ 103188 w 96"/>
                <a:gd name="T11" fmla="*/ 133134 h 176"/>
                <a:gd name="T12" fmla="*/ 85990 w 96"/>
                <a:gd name="T13" fmla="*/ 177512 h 176"/>
                <a:gd name="T14" fmla="*/ 68792 w 96"/>
                <a:gd name="T15" fmla="*/ 192304 h 176"/>
                <a:gd name="T16" fmla="*/ 51594 w 96"/>
                <a:gd name="T17" fmla="*/ 177512 h 176"/>
                <a:gd name="T18" fmla="*/ 34396 w 96"/>
                <a:gd name="T19" fmla="*/ 177512 h 176"/>
                <a:gd name="T20" fmla="*/ 0 w 96"/>
                <a:gd name="T21" fmla="*/ 236682 h 176"/>
                <a:gd name="T22" fmla="*/ 0 w 96"/>
                <a:gd name="T23" fmla="*/ 251475 h 176"/>
                <a:gd name="T24" fmla="*/ 17198 w 96"/>
                <a:gd name="T25" fmla="*/ 251475 h 176"/>
                <a:gd name="T26" fmla="*/ 34396 w 96"/>
                <a:gd name="T27" fmla="*/ 281060 h 176"/>
                <a:gd name="T28" fmla="*/ 34396 w 96"/>
                <a:gd name="T29" fmla="*/ 310645 h 176"/>
                <a:gd name="T30" fmla="*/ 68792 w 96"/>
                <a:gd name="T31" fmla="*/ 310645 h 176"/>
                <a:gd name="T32" fmla="*/ 137583 w 96"/>
                <a:gd name="T33" fmla="*/ 310645 h 176"/>
                <a:gd name="T34" fmla="*/ 206375 w 96"/>
                <a:gd name="T35" fmla="*/ 325438 h 176"/>
                <a:gd name="T36" fmla="*/ 206375 w 96"/>
                <a:gd name="T37" fmla="*/ 281060 h 176"/>
                <a:gd name="T38" fmla="*/ 171979 w 96"/>
                <a:gd name="T39" fmla="*/ 236682 h 176"/>
                <a:gd name="T40" fmla="*/ 171979 w 96"/>
                <a:gd name="T41" fmla="*/ 207097 h 176"/>
                <a:gd name="T42" fmla="*/ 189177 w 96"/>
                <a:gd name="T43" fmla="*/ 162719 h 176"/>
                <a:gd name="T44" fmla="*/ 171979 w 96"/>
                <a:gd name="T45" fmla="*/ 118341 h 176"/>
                <a:gd name="T46" fmla="*/ 154781 w 96"/>
                <a:gd name="T47" fmla="*/ 103548 h 176"/>
                <a:gd name="T48" fmla="*/ 154781 w 96"/>
                <a:gd name="T49" fmla="*/ 88756 h 176"/>
                <a:gd name="T50" fmla="*/ 189177 w 96"/>
                <a:gd name="T51" fmla="*/ 88756 h 176"/>
                <a:gd name="T52" fmla="*/ 171979 w 96"/>
                <a:gd name="T53" fmla="*/ 59171 h 176"/>
                <a:gd name="T54" fmla="*/ 171979 w 96"/>
                <a:gd name="T55" fmla="*/ 14793 h 176"/>
                <a:gd name="T56" fmla="*/ 154781 w 96"/>
                <a:gd name="T57" fmla="*/ 0 h 17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6"/>
                <a:gd name="T88" fmla="*/ 0 h 176"/>
                <a:gd name="T89" fmla="*/ 96 w 96"/>
                <a:gd name="T90" fmla="*/ 176 h 17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6" h="176">
                  <a:moveTo>
                    <a:pt x="72" y="0"/>
                  </a:moveTo>
                  <a:lnTo>
                    <a:pt x="72" y="8"/>
                  </a:lnTo>
                  <a:lnTo>
                    <a:pt x="72" y="24"/>
                  </a:lnTo>
                  <a:lnTo>
                    <a:pt x="64" y="32"/>
                  </a:lnTo>
                  <a:lnTo>
                    <a:pt x="56" y="64"/>
                  </a:lnTo>
                  <a:lnTo>
                    <a:pt x="48" y="72"/>
                  </a:lnTo>
                  <a:lnTo>
                    <a:pt x="40" y="96"/>
                  </a:lnTo>
                  <a:lnTo>
                    <a:pt x="32" y="104"/>
                  </a:lnTo>
                  <a:lnTo>
                    <a:pt x="24" y="96"/>
                  </a:lnTo>
                  <a:lnTo>
                    <a:pt x="16" y="96"/>
                  </a:lnTo>
                  <a:lnTo>
                    <a:pt x="0" y="128"/>
                  </a:lnTo>
                  <a:lnTo>
                    <a:pt x="0" y="136"/>
                  </a:lnTo>
                  <a:lnTo>
                    <a:pt x="8" y="136"/>
                  </a:lnTo>
                  <a:lnTo>
                    <a:pt x="16" y="152"/>
                  </a:lnTo>
                  <a:lnTo>
                    <a:pt x="16" y="168"/>
                  </a:lnTo>
                  <a:lnTo>
                    <a:pt x="32" y="168"/>
                  </a:lnTo>
                  <a:lnTo>
                    <a:pt x="64" y="168"/>
                  </a:lnTo>
                  <a:lnTo>
                    <a:pt x="96" y="176"/>
                  </a:lnTo>
                  <a:lnTo>
                    <a:pt x="96" y="152"/>
                  </a:lnTo>
                  <a:lnTo>
                    <a:pt x="80" y="128"/>
                  </a:lnTo>
                  <a:lnTo>
                    <a:pt x="80" y="112"/>
                  </a:lnTo>
                  <a:lnTo>
                    <a:pt x="88" y="88"/>
                  </a:lnTo>
                  <a:lnTo>
                    <a:pt x="80" y="64"/>
                  </a:lnTo>
                  <a:lnTo>
                    <a:pt x="72" y="56"/>
                  </a:lnTo>
                  <a:lnTo>
                    <a:pt x="72" y="48"/>
                  </a:lnTo>
                  <a:lnTo>
                    <a:pt x="88" y="48"/>
                  </a:lnTo>
                  <a:lnTo>
                    <a:pt x="80" y="32"/>
                  </a:lnTo>
                  <a:lnTo>
                    <a:pt x="80" y="8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 89">
              <a:extLst>
                <a:ext uri="{FF2B5EF4-FFF2-40B4-BE49-F238E27FC236}">
                  <a16:creationId xmlns:a16="http://schemas.microsoft.com/office/drawing/2014/main" id="{5030A122-99BD-439A-AB1C-313ECF82FC29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6566180" y="4106584"/>
              <a:ext cx="284344" cy="306942"/>
            </a:xfrm>
            <a:custGeom>
              <a:avLst/>
              <a:gdLst>
                <a:gd name="T0" fmla="*/ 52021 w 104"/>
                <a:gd name="T1" fmla="*/ 221754 h 128"/>
                <a:gd name="T2" fmla="*/ 52021 w 104"/>
                <a:gd name="T3" fmla="*/ 236538 h 128"/>
                <a:gd name="T4" fmla="*/ 69362 w 104"/>
                <a:gd name="T5" fmla="*/ 236538 h 128"/>
                <a:gd name="T6" fmla="*/ 86702 w 104"/>
                <a:gd name="T7" fmla="*/ 221754 h 128"/>
                <a:gd name="T8" fmla="*/ 104042 w 104"/>
                <a:gd name="T9" fmla="*/ 236538 h 128"/>
                <a:gd name="T10" fmla="*/ 138723 w 104"/>
                <a:gd name="T11" fmla="*/ 206971 h 128"/>
                <a:gd name="T12" fmla="*/ 156063 w 104"/>
                <a:gd name="T13" fmla="*/ 162620 h 128"/>
                <a:gd name="T14" fmla="*/ 190744 w 104"/>
                <a:gd name="T15" fmla="*/ 118269 h 128"/>
                <a:gd name="T16" fmla="*/ 208085 w 104"/>
                <a:gd name="T17" fmla="*/ 44351 h 128"/>
                <a:gd name="T18" fmla="*/ 225425 w 104"/>
                <a:gd name="T19" fmla="*/ 0 h 128"/>
                <a:gd name="T20" fmla="*/ 190744 w 104"/>
                <a:gd name="T21" fmla="*/ 0 h 128"/>
                <a:gd name="T22" fmla="*/ 173404 w 104"/>
                <a:gd name="T23" fmla="*/ 0 h 128"/>
                <a:gd name="T24" fmla="*/ 156063 w 104"/>
                <a:gd name="T25" fmla="*/ 0 h 128"/>
                <a:gd name="T26" fmla="*/ 138723 w 104"/>
                <a:gd name="T27" fmla="*/ 14784 h 128"/>
                <a:gd name="T28" fmla="*/ 138723 w 104"/>
                <a:gd name="T29" fmla="*/ 59135 h 128"/>
                <a:gd name="T30" fmla="*/ 69362 w 104"/>
                <a:gd name="T31" fmla="*/ 44351 h 128"/>
                <a:gd name="T32" fmla="*/ 86702 w 104"/>
                <a:gd name="T33" fmla="*/ 44351 h 128"/>
                <a:gd name="T34" fmla="*/ 86702 w 104"/>
                <a:gd name="T35" fmla="*/ 59135 h 128"/>
                <a:gd name="T36" fmla="*/ 86702 w 104"/>
                <a:gd name="T37" fmla="*/ 73918 h 128"/>
                <a:gd name="T38" fmla="*/ 86702 w 104"/>
                <a:gd name="T39" fmla="*/ 88702 h 128"/>
                <a:gd name="T40" fmla="*/ 86702 w 104"/>
                <a:gd name="T41" fmla="*/ 133053 h 128"/>
                <a:gd name="T42" fmla="*/ 86702 w 104"/>
                <a:gd name="T43" fmla="*/ 162620 h 128"/>
                <a:gd name="T44" fmla="*/ 52021 w 104"/>
                <a:gd name="T45" fmla="*/ 147836 h 128"/>
                <a:gd name="T46" fmla="*/ 17340 w 104"/>
                <a:gd name="T47" fmla="*/ 177403 h 128"/>
                <a:gd name="T48" fmla="*/ 17340 w 104"/>
                <a:gd name="T49" fmla="*/ 192187 h 128"/>
                <a:gd name="T50" fmla="*/ 0 w 104"/>
                <a:gd name="T51" fmla="*/ 221754 h 128"/>
                <a:gd name="T52" fmla="*/ 34681 w 104"/>
                <a:gd name="T53" fmla="*/ 236538 h 128"/>
                <a:gd name="T54" fmla="*/ 52021 w 104"/>
                <a:gd name="T55" fmla="*/ 221754 h 12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4"/>
                <a:gd name="T85" fmla="*/ 0 h 128"/>
                <a:gd name="T86" fmla="*/ 104 w 104"/>
                <a:gd name="T87" fmla="*/ 128 h 12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4" h="128">
                  <a:moveTo>
                    <a:pt x="24" y="120"/>
                  </a:moveTo>
                  <a:lnTo>
                    <a:pt x="24" y="128"/>
                  </a:lnTo>
                  <a:lnTo>
                    <a:pt x="32" y="128"/>
                  </a:lnTo>
                  <a:lnTo>
                    <a:pt x="40" y="120"/>
                  </a:lnTo>
                  <a:lnTo>
                    <a:pt x="48" y="128"/>
                  </a:lnTo>
                  <a:lnTo>
                    <a:pt x="64" y="112"/>
                  </a:lnTo>
                  <a:lnTo>
                    <a:pt x="72" y="88"/>
                  </a:lnTo>
                  <a:lnTo>
                    <a:pt x="88" y="64"/>
                  </a:lnTo>
                  <a:lnTo>
                    <a:pt x="96" y="24"/>
                  </a:lnTo>
                  <a:lnTo>
                    <a:pt x="104" y="0"/>
                  </a:lnTo>
                  <a:lnTo>
                    <a:pt x="88" y="0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64" y="8"/>
                  </a:lnTo>
                  <a:lnTo>
                    <a:pt x="64" y="32"/>
                  </a:lnTo>
                  <a:lnTo>
                    <a:pt x="32" y="24"/>
                  </a:lnTo>
                  <a:lnTo>
                    <a:pt x="40" y="24"/>
                  </a:lnTo>
                  <a:lnTo>
                    <a:pt x="40" y="32"/>
                  </a:lnTo>
                  <a:lnTo>
                    <a:pt x="40" y="40"/>
                  </a:lnTo>
                  <a:lnTo>
                    <a:pt x="40" y="48"/>
                  </a:lnTo>
                  <a:lnTo>
                    <a:pt x="40" y="72"/>
                  </a:lnTo>
                  <a:lnTo>
                    <a:pt x="40" y="88"/>
                  </a:lnTo>
                  <a:lnTo>
                    <a:pt x="24" y="80"/>
                  </a:lnTo>
                  <a:lnTo>
                    <a:pt x="8" y="96"/>
                  </a:lnTo>
                  <a:lnTo>
                    <a:pt x="8" y="104"/>
                  </a:lnTo>
                  <a:lnTo>
                    <a:pt x="0" y="120"/>
                  </a:lnTo>
                  <a:lnTo>
                    <a:pt x="16" y="128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90">
              <a:extLst>
                <a:ext uri="{FF2B5EF4-FFF2-40B4-BE49-F238E27FC236}">
                  <a16:creationId xmlns:a16="http://schemas.microsoft.com/office/drawing/2014/main" id="{DE7DD300-8447-4AB3-9D87-AB58E89751E2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6480077" y="4164264"/>
              <a:ext cx="196237" cy="230721"/>
            </a:xfrm>
            <a:custGeom>
              <a:avLst/>
              <a:gdLst>
                <a:gd name="T0" fmla="*/ 155575 w 72"/>
                <a:gd name="T1" fmla="*/ 0 h 96"/>
                <a:gd name="T2" fmla="*/ 155575 w 72"/>
                <a:gd name="T3" fmla="*/ 14817 h 96"/>
                <a:gd name="T4" fmla="*/ 155575 w 72"/>
                <a:gd name="T5" fmla="*/ 29633 h 96"/>
                <a:gd name="T6" fmla="*/ 155575 w 72"/>
                <a:gd name="T7" fmla="*/ 44450 h 96"/>
                <a:gd name="T8" fmla="*/ 155575 w 72"/>
                <a:gd name="T9" fmla="*/ 88900 h 96"/>
                <a:gd name="T10" fmla="*/ 155575 w 72"/>
                <a:gd name="T11" fmla="*/ 118533 h 96"/>
                <a:gd name="T12" fmla="*/ 121003 w 72"/>
                <a:gd name="T13" fmla="*/ 103717 h 96"/>
                <a:gd name="T14" fmla="*/ 86431 w 72"/>
                <a:gd name="T15" fmla="*/ 133350 h 96"/>
                <a:gd name="T16" fmla="*/ 86431 w 72"/>
                <a:gd name="T17" fmla="*/ 148167 h 96"/>
                <a:gd name="T18" fmla="*/ 69144 w 72"/>
                <a:gd name="T19" fmla="*/ 177800 h 96"/>
                <a:gd name="T20" fmla="*/ 34572 w 72"/>
                <a:gd name="T21" fmla="*/ 133350 h 96"/>
                <a:gd name="T22" fmla="*/ 0 w 72"/>
                <a:gd name="T23" fmla="*/ 74083 h 96"/>
                <a:gd name="T24" fmla="*/ 17286 w 72"/>
                <a:gd name="T25" fmla="*/ 74083 h 96"/>
                <a:gd name="T26" fmla="*/ 17286 w 72"/>
                <a:gd name="T27" fmla="*/ 59267 h 96"/>
                <a:gd name="T28" fmla="*/ 34572 w 72"/>
                <a:gd name="T29" fmla="*/ 29633 h 96"/>
                <a:gd name="T30" fmla="*/ 69144 w 72"/>
                <a:gd name="T31" fmla="*/ 29633 h 96"/>
                <a:gd name="T32" fmla="*/ 69144 w 72"/>
                <a:gd name="T33" fmla="*/ 0 h 96"/>
                <a:gd name="T34" fmla="*/ 138289 w 72"/>
                <a:gd name="T35" fmla="*/ 0 h 96"/>
                <a:gd name="T36" fmla="*/ 155575 w 72"/>
                <a:gd name="T37" fmla="*/ 0 h 9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2"/>
                <a:gd name="T58" fmla="*/ 0 h 96"/>
                <a:gd name="T59" fmla="*/ 72 w 72"/>
                <a:gd name="T60" fmla="*/ 96 h 9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2" h="96">
                  <a:moveTo>
                    <a:pt x="72" y="0"/>
                  </a:moveTo>
                  <a:lnTo>
                    <a:pt x="72" y="8"/>
                  </a:lnTo>
                  <a:lnTo>
                    <a:pt x="72" y="16"/>
                  </a:lnTo>
                  <a:lnTo>
                    <a:pt x="72" y="24"/>
                  </a:lnTo>
                  <a:lnTo>
                    <a:pt x="72" y="48"/>
                  </a:lnTo>
                  <a:lnTo>
                    <a:pt x="72" y="64"/>
                  </a:lnTo>
                  <a:lnTo>
                    <a:pt x="56" y="56"/>
                  </a:lnTo>
                  <a:lnTo>
                    <a:pt x="40" y="72"/>
                  </a:lnTo>
                  <a:lnTo>
                    <a:pt x="40" y="80"/>
                  </a:lnTo>
                  <a:lnTo>
                    <a:pt x="32" y="96"/>
                  </a:lnTo>
                  <a:lnTo>
                    <a:pt x="16" y="72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8" y="32"/>
                  </a:lnTo>
                  <a:lnTo>
                    <a:pt x="16" y="16"/>
                  </a:lnTo>
                  <a:lnTo>
                    <a:pt x="32" y="16"/>
                  </a:lnTo>
                  <a:lnTo>
                    <a:pt x="32" y="0"/>
                  </a:lnTo>
                  <a:lnTo>
                    <a:pt x="64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 91">
              <a:extLst>
                <a:ext uri="{FF2B5EF4-FFF2-40B4-BE49-F238E27FC236}">
                  <a16:creationId xmlns:a16="http://schemas.microsoft.com/office/drawing/2014/main" id="{94087229-CB2E-4B20-AC1F-F5AE3A0ADDDA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6502102" y="4164264"/>
              <a:ext cx="64077" cy="39141"/>
            </a:xfrm>
            <a:custGeom>
              <a:avLst/>
              <a:gdLst>
                <a:gd name="T0" fmla="*/ 50800 w 24"/>
                <a:gd name="T1" fmla="*/ 30163 h 16"/>
                <a:gd name="T2" fmla="*/ 50800 w 24"/>
                <a:gd name="T3" fmla="*/ 0 h 16"/>
                <a:gd name="T4" fmla="*/ 16933 w 24"/>
                <a:gd name="T5" fmla="*/ 0 h 16"/>
                <a:gd name="T6" fmla="*/ 0 w 24"/>
                <a:gd name="T7" fmla="*/ 30163 h 16"/>
                <a:gd name="T8" fmla="*/ 50800 w 24"/>
                <a:gd name="T9" fmla="*/ 3016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6"/>
                <a:gd name="T17" fmla="*/ 24 w 24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6">
                  <a:moveTo>
                    <a:pt x="24" y="16"/>
                  </a:moveTo>
                  <a:lnTo>
                    <a:pt x="24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reeform 92">
              <a:extLst>
                <a:ext uri="{FF2B5EF4-FFF2-40B4-BE49-F238E27FC236}">
                  <a16:creationId xmlns:a16="http://schemas.microsoft.com/office/drawing/2014/main" id="{2D70A86A-1325-4E42-8293-E390CCAE13F1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6043549" y="3838783"/>
              <a:ext cx="174211" cy="230721"/>
            </a:xfrm>
            <a:custGeom>
              <a:avLst/>
              <a:gdLst>
                <a:gd name="T0" fmla="*/ 120849 w 64"/>
                <a:gd name="T1" fmla="*/ 118533 h 96"/>
                <a:gd name="T2" fmla="*/ 103585 w 64"/>
                <a:gd name="T3" fmla="*/ 59267 h 96"/>
                <a:gd name="T4" fmla="*/ 86321 w 64"/>
                <a:gd name="T5" fmla="*/ 0 h 96"/>
                <a:gd name="T6" fmla="*/ 17264 w 64"/>
                <a:gd name="T7" fmla="*/ 0 h 96"/>
                <a:gd name="T8" fmla="*/ 17264 w 64"/>
                <a:gd name="T9" fmla="*/ 44450 h 96"/>
                <a:gd name="T10" fmla="*/ 34528 w 64"/>
                <a:gd name="T11" fmla="*/ 74083 h 96"/>
                <a:gd name="T12" fmla="*/ 0 w 64"/>
                <a:gd name="T13" fmla="*/ 118533 h 96"/>
                <a:gd name="T14" fmla="*/ 17264 w 64"/>
                <a:gd name="T15" fmla="*/ 162983 h 96"/>
                <a:gd name="T16" fmla="*/ 0 w 64"/>
                <a:gd name="T17" fmla="*/ 162983 h 96"/>
                <a:gd name="T18" fmla="*/ 34528 w 64"/>
                <a:gd name="T19" fmla="*/ 177800 h 96"/>
                <a:gd name="T20" fmla="*/ 103585 w 64"/>
                <a:gd name="T21" fmla="*/ 148167 h 96"/>
                <a:gd name="T22" fmla="*/ 120849 w 64"/>
                <a:gd name="T23" fmla="*/ 148167 h 96"/>
                <a:gd name="T24" fmla="*/ 138113 w 64"/>
                <a:gd name="T25" fmla="*/ 133350 h 96"/>
                <a:gd name="T26" fmla="*/ 120849 w 64"/>
                <a:gd name="T27" fmla="*/ 118533 h 9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4"/>
                <a:gd name="T43" fmla="*/ 0 h 96"/>
                <a:gd name="T44" fmla="*/ 64 w 64"/>
                <a:gd name="T45" fmla="*/ 96 h 9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4" h="96">
                  <a:moveTo>
                    <a:pt x="56" y="64"/>
                  </a:moveTo>
                  <a:lnTo>
                    <a:pt x="48" y="32"/>
                  </a:lnTo>
                  <a:lnTo>
                    <a:pt x="40" y="0"/>
                  </a:lnTo>
                  <a:lnTo>
                    <a:pt x="8" y="0"/>
                  </a:lnTo>
                  <a:lnTo>
                    <a:pt x="8" y="24"/>
                  </a:lnTo>
                  <a:lnTo>
                    <a:pt x="16" y="40"/>
                  </a:lnTo>
                  <a:lnTo>
                    <a:pt x="0" y="64"/>
                  </a:lnTo>
                  <a:lnTo>
                    <a:pt x="8" y="88"/>
                  </a:lnTo>
                  <a:lnTo>
                    <a:pt x="0" y="88"/>
                  </a:lnTo>
                  <a:lnTo>
                    <a:pt x="16" y="96"/>
                  </a:lnTo>
                  <a:lnTo>
                    <a:pt x="48" y="80"/>
                  </a:lnTo>
                  <a:lnTo>
                    <a:pt x="56" y="80"/>
                  </a:lnTo>
                  <a:lnTo>
                    <a:pt x="64" y="72"/>
                  </a:lnTo>
                  <a:lnTo>
                    <a:pt x="56" y="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Freeform 93">
              <a:extLst>
                <a:ext uri="{FF2B5EF4-FFF2-40B4-BE49-F238E27FC236}">
                  <a16:creationId xmlns:a16="http://schemas.microsoft.com/office/drawing/2014/main" id="{DCBD8A42-E0CE-4ABC-A703-99A288373D2F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6151680" y="3838783"/>
              <a:ext cx="88106" cy="173041"/>
            </a:xfrm>
            <a:custGeom>
              <a:avLst/>
              <a:gdLst>
                <a:gd name="T0" fmla="*/ 34925 w 32"/>
                <a:gd name="T1" fmla="*/ 118533 h 72"/>
                <a:gd name="T2" fmla="*/ 17463 w 32"/>
                <a:gd name="T3" fmla="*/ 59267 h 72"/>
                <a:gd name="T4" fmla="*/ 0 w 32"/>
                <a:gd name="T5" fmla="*/ 0 h 72"/>
                <a:gd name="T6" fmla="*/ 34925 w 32"/>
                <a:gd name="T7" fmla="*/ 0 h 72"/>
                <a:gd name="T8" fmla="*/ 34925 w 32"/>
                <a:gd name="T9" fmla="*/ 14817 h 72"/>
                <a:gd name="T10" fmla="*/ 52387 w 32"/>
                <a:gd name="T11" fmla="*/ 29633 h 72"/>
                <a:gd name="T12" fmla="*/ 52387 w 32"/>
                <a:gd name="T13" fmla="*/ 74083 h 72"/>
                <a:gd name="T14" fmla="*/ 69850 w 32"/>
                <a:gd name="T15" fmla="*/ 133350 h 72"/>
                <a:gd name="T16" fmla="*/ 52387 w 32"/>
                <a:gd name="T17" fmla="*/ 133350 h 72"/>
                <a:gd name="T18" fmla="*/ 34925 w 32"/>
                <a:gd name="T19" fmla="*/ 118533 h 7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72"/>
                <a:gd name="T32" fmla="*/ 32 w 32"/>
                <a:gd name="T33" fmla="*/ 72 h 7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72">
                  <a:moveTo>
                    <a:pt x="16" y="64"/>
                  </a:moveTo>
                  <a:lnTo>
                    <a:pt x="8" y="32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24" y="16"/>
                  </a:lnTo>
                  <a:lnTo>
                    <a:pt x="24" y="40"/>
                  </a:lnTo>
                  <a:lnTo>
                    <a:pt x="32" y="72"/>
                  </a:lnTo>
                  <a:lnTo>
                    <a:pt x="24" y="72"/>
                  </a:lnTo>
                  <a:lnTo>
                    <a:pt x="16" y="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94">
              <a:extLst>
                <a:ext uri="{FF2B5EF4-FFF2-40B4-BE49-F238E27FC236}">
                  <a16:creationId xmlns:a16="http://schemas.microsoft.com/office/drawing/2014/main" id="{CF690191-E150-45AC-A92C-F19F36FF33EB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6261812" y="3744023"/>
              <a:ext cx="414502" cy="344022"/>
            </a:xfrm>
            <a:custGeom>
              <a:avLst/>
              <a:gdLst>
                <a:gd name="T0" fmla="*/ 328613 w 152"/>
                <a:gd name="T1" fmla="*/ 14729 h 144"/>
                <a:gd name="T2" fmla="*/ 311318 w 152"/>
                <a:gd name="T3" fmla="*/ 0 h 144"/>
                <a:gd name="T4" fmla="*/ 294022 w 152"/>
                <a:gd name="T5" fmla="*/ 0 h 144"/>
                <a:gd name="T6" fmla="*/ 276727 w 152"/>
                <a:gd name="T7" fmla="*/ 14729 h 144"/>
                <a:gd name="T8" fmla="*/ 224840 w 152"/>
                <a:gd name="T9" fmla="*/ 14729 h 144"/>
                <a:gd name="T10" fmla="*/ 190250 w 152"/>
                <a:gd name="T11" fmla="*/ 29457 h 144"/>
                <a:gd name="T12" fmla="*/ 155659 w 152"/>
                <a:gd name="T13" fmla="*/ 14729 h 144"/>
                <a:gd name="T14" fmla="*/ 121068 w 152"/>
                <a:gd name="T15" fmla="*/ 14729 h 144"/>
                <a:gd name="T16" fmla="*/ 86477 w 152"/>
                <a:gd name="T17" fmla="*/ 0 h 144"/>
                <a:gd name="T18" fmla="*/ 51886 w 152"/>
                <a:gd name="T19" fmla="*/ 0 h 144"/>
                <a:gd name="T20" fmla="*/ 34591 w 152"/>
                <a:gd name="T21" fmla="*/ 29457 h 144"/>
                <a:gd name="T22" fmla="*/ 34591 w 152"/>
                <a:gd name="T23" fmla="*/ 58914 h 144"/>
                <a:gd name="T24" fmla="*/ 34591 w 152"/>
                <a:gd name="T25" fmla="*/ 88371 h 144"/>
                <a:gd name="T26" fmla="*/ 0 w 152"/>
                <a:gd name="T27" fmla="*/ 147285 h 144"/>
                <a:gd name="T28" fmla="*/ 0 w 152"/>
                <a:gd name="T29" fmla="*/ 206199 h 144"/>
                <a:gd name="T30" fmla="*/ 34591 w 152"/>
                <a:gd name="T31" fmla="*/ 206199 h 144"/>
                <a:gd name="T32" fmla="*/ 69182 w 152"/>
                <a:gd name="T33" fmla="*/ 220927 h 144"/>
                <a:gd name="T34" fmla="*/ 86477 w 152"/>
                <a:gd name="T35" fmla="*/ 250385 h 144"/>
                <a:gd name="T36" fmla="*/ 86477 w 152"/>
                <a:gd name="T37" fmla="*/ 265113 h 144"/>
                <a:gd name="T38" fmla="*/ 172954 w 152"/>
                <a:gd name="T39" fmla="*/ 250385 h 144"/>
                <a:gd name="T40" fmla="*/ 207545 w 152"/>
                <a:gd name="T41" fmla="*/ 191470 h 144"/>
                <a:gd name="T42" fmla="*/ 224840 w 152"/>
                <a:gd name="T43" fmla="*/ 191470 h 144"/>
                <a:gd name="T44" fmla="*/ 242136 w 152"/>
                <a:gd name="T45" fmla="*/ 206199 h 144"/>
                <a:gd name="T46" fmla="*/ 259431 w 152"/>
                <a:gd name="T47" fmla="*/ 191470 h 144"/>
                <a:gd name="T48" fmla="*/ 276727 w 152"/>
                <a:gd name="T49" fmla="*/ 147285 h 144"/>
                <a:gd name="T50" fmla="*/ 294022 w 152"/>
                <a:gd name="T51" fmla="*/ 132557 h 144"/>
                <a:gd name="T52" fmla="*/ 311318 w 152"/>
                <a:gd name="T53" fmla="*/ 73642 h 144"/>
                <a:gd name="T54" fmla="*/ 328613 w 152"/>
                <a:gd name="T55" fmla="*/ 58914 h 144"/>
                <a:gd name="T56" fmla="*/ 328613 w 152"/>
                <a:gd name="T57" fmla="*/ 29457 h 144"/>
                <a:gd name="T58" fmla="*/ 328613 w 152"/>
                <a:gd name="T59" fmla="*/ 14729 h 1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2"/>
                <a:gd name="T91" fmla="*/ 0 h 144"/>
                <a:gd name="T92" fmla="*/ 152 w 152"/>
                <a:gd name="T93" fmla="*/ 144 h 1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2" h="144">
                  <a:moveTo>
                    <a:pt x="152" y="8"/>
                  </a:moveTo>
                  <a:lnTo>
                    <a:pt x="144" y="0"/>
                  </a:lnTo>
                  <a:lnTo>
                    <a:pt x="136" y="0"/>
                  </a:lnTo>
                  <a:lnTo>
                    <a:pt x="128" y="8"/>
                  </a:lnTo>
                  <a:lnTo>
                    <a:pt x="104" y="8"/>
                  </a:lnTo>
                  <a:lnTo>
                    <a:pt x="88" y="16"/>
                  </a:lnTo>
                  <a:lnTo>
                    <a:pt x="72" y="8"/>
                  </a:lnTo>
                  <a:lnTo>
                    <a:pt x="56" y="8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16" y="16"/>
                  </a:lnTo>
                  <a:lnTo>
                    <a:pt x="16" y="32"/>
                  </a:lnTo>
                  <a:lnTo>
                    <a:pt x="16" y="48"/>
                  </a:lnTo>
                  <a:lnTo>
                    <a:pt x="0" y="80"/>
                  </a:lnTo>
                  <a:lnTo>
                    <a:pt x="0" y="112"/>
                  </a:lnTo>
                  <a:lnTo>
                    <a:pt x="16" y="112"/>
                  </a:lnTo>
                  <a:lnTo>
                    <a:pt x="32" y="120"/>
                  </a:lnTo>
                  <a:lnTo>
                    <a:pt x="40" y="136"/>
                  </a:lnTo>
                  <a:lnTo>
                    <a:pt x="40" y="144"/>
                  </a:lnTo>
                  <a:lnTo>
                    <a:pt x="80" y="136"/>
                  </a:lnTo>
                  <a:lnTo>
                    <a:pt x="96" y="104"/>
                  </a:lnTo>
                  <a:lnTo>
                    <a:pt x="104" y="104"/>
                  </a:lnTo>
                  <a:lnTo>
                    <a:pt x="112" y="112"/>
                  </a:lnTo>
                  <a:lnTo>
                    <a:pt x="120" y="104"/>
                  </a:lnTo>
                  <a:lnTo>
                    <a:pt x="128" y="80"/>
                  </a:lnTo>
                  <a:lnTo>
                    <a:pt x="136" y="72"/>
                  </a:lnTo>
                  <a:lnTo>
                    <a:pt x="144" y="40"/>
                  </a:lnTo>
                  <a:lnTo>
                    <a:pt x="152" y="32"/>
                  </a:lnTo>
                  <a:lnTo>
                    <a:pt x="152" y="16"/>
                  </a:lnTo>
                  <a:lnTo>
                    <a:pt x="152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95">
              <a:extLst>
                <a:ext uri="{FF2B5EF4-FFF2-40B4-BE49-F238E27FC236}">
                  <a16:creationId xmlns:a16="http://schemas.microsoft.com/office/drawing/2014/main" id="{6500C872-E24A-450B-9978-C8737714D401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6195733" y="3781103"/>
              <a:ext cx="110134" cy="230721"/>
            </a:xfrm>
            <a:custGeom>
              <a:avLst/>
              <a:gdLst>
                <a:gd name="T0" fmla="*/ 17463 w 40"/>
                <a:gd name="T1" fmla="*/ 118533 h 96"/>
                <a:gd name="T2" fmla="*/ 17463 w 40"/>
                <a:gd name="T3" fmla="*/ 74083 h 96"/>
                <a:gd name="T4" fmla="*/ 0 w 40"/>
                <a:gd name="T5" fmla="*/ 59267 h 96"/>
                <a:gd name="T6" fmla="*/ 0 w 40"/>
                <a:gd name="T7" fmla="*/ 44450 h 96"/>
                <a:gd name="T8" fmla="*/ 17463 w 40"/>
                <a:gd name="T9" fmla="*/ 29633 h 96"/>
                <a:gd name="T10" fmla="*/ 34925 w 40"/>
                <a:gd name="T11" fmla="*/ 29633 h 96"/>
                <a:gd name="T12" fmla="*/ 52388 w 40"/>
                <a:gd name="T13" fmla="*/ 14817 h 96"/>
                <a:gd name="T14" fmla="*/ 69850 w 40"/>
                <a:gd name="T15" fmla="*/ 0 h 96"/>
                <a:gd name="T16" fmla="*/ 87313 w 40"/>
                <a:gd name="T17" fmla="*/ 29633 h 96"/>
                <a:gd name="T18" fmla="*/ 87313 w 40"/>
                <a:gd name="T19" fmla="*/ 59267 h 96"/>
                <a:gd name="T20" fmla="*/ 52388 w 40"/>
                <a:gd name="T21" fmla="*/ 118533 h 96"/>
                <a:gd name="T22" fmla="*/ 52388 w 40"/>
                <a:gd name="T23" fmla="*/ 177800 h 96"/>
                <a:gd name="T24" fmla="*/ 34925 w 40"/>
                <a:gd name="T25" fmla="*/ 177800 h 96"/>
                <a:gd name="T26" fmla="*/ 17463 w 40"/>
                <a:gd name="T27" fmla="*/ 118533 h 9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0"/>
                <a:gd name="T43" fmla="*/ 0 h 96"/>
                <a:gd name="T44" fmla="*/ 40 w 40"/>
                <a:gd name="T45" fmla="*/ 96 h 9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0" h="96">
                  <a:moveTo>
                    <a:pt x="8" y="64"/>
                  </a:moveTo>
                  <a:lnTo>
                    <a:pt x="8" y="40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16"/>
                  </a:lnTo>
                  <a:lnTo>
                    <a:pt x="24" y="8"/>
                  </a:lnTo>
                  <a:lnTo>
                    <a:pt x="32" y="0"/>
                  </a:lnTo>
                  <a:lnTo>
                    <a:pt x="40" y="16"/>
                  </a:lnTo>
                  <a:lnTo>
                    <a:pt x="40" y="32"/>
                  </a:lnTo>
                  <a:lnTo>
                    <a:pt x="24" y="64"/>
                  </a:lnTo>
                  <a:lnTo>
                    <a:pt x="24" y="96"/>
                  </a:lnTo>
                  <a:lnTo>
                    <a:pt x="16" y="96"/>
                  </a:lnTo>
                  <a:lnTo>
                    <a:pt x="8" y="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Freeform 96">
              <a:extLst>
                <a:ext uri="{FF2B5EF4-FFF2-40B4-BE49-F238E27FC236}">
                  <a16:creationId xmlns:a16="http://schemas.microsoft.com/office/drawing/2014/main" id="{5ED71E76-A6E3-4011-A219-FD7E567215EB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5847312" y="3859383"/>
              <a:ext cx="240290" cy="228661"/>
            </a:xfrm>
            <a:custGeom>
              <a:avLst/>
              <a:gdLst>
                <a:gd name="T0" fmla="*/ 173182 w 88"/>
                <a:gd name="T1" fmla="*/ 146844 h 96"/>
                <a:gd name="T2" fmla="*/ 155864 w 88"/>
                <a:gd name="T3" fmla="*/ 102791 h 96"/>
                <a:gd name="T4" fmla="*/ 190500 w 88"/>
                <a:gd name="T5" fmla="*/ 58738 h 96"/>
                <a:gd name="T6" fmla="*/ 173182 w 88"/>
                <a:gd name="T7" fmla="*/ 29369 h 96"/>
                <a:gd name="T8" fmla="*/ 155864 w 88"/>
                <a:gd name="T9" fmla="*/ 14684 h 96"/>
                <a:gd name="T10" fmla="*/ 121227 w 88"/>
                <a:gd name="T11" fmla="*/ 14684 h 96"/>
                <a:gd name="T12" fmla="*/ 103909 w 88"/>
                <a:gd name="T13" fmla="*/ 0 h 96"/>
                <a:gd name="T14" fmla="*/ 86591 w 88"/>
                <a:gd name="T15" fmla="*/ 0 h 96"/>
                <a:gd name="T16" fmla="*/ 69273 w 88"/>
                <a:gd name="T17" fmla="*/ 0 h 96"/>
                <a:gd name="T18" fmla="*/ 51955 w 88"/>
                <a:gd name="T19" fmla="*/ 0 h 96"/>
                <a:gd name="T20" fmla="*/ 34636 w 88"/>
                <a:gd name="T21" fmla="*/ 0 h 96"/>
                <a:gd name="T22" fmla="*/ 17318 w 88"/>
                <a:gd name="T23" fmla="*/ 0 h 96"/>
                <a:gd name="T24" fmla="*/ 17318 w 88"/>
                <a:gd name="T25" fmla="*/ 29369 h 96"/>
                <a:gd name="T26" fmla="*/ 34636 w 88"/>
                <a:gd name="T27" fmla="*/ 58738 h 96"/>
                <a:gd name="T28" fmla="*/ 17318 w 88"/>
                <a:gd name="T29" fmla="*/ 58738 h 96"/>
                <a:gd name="T30" fmla="*/ 17318 w 88"/>
                <a:gd name="T31" fmla="*/ 73422 h 96"/>
                <a:gd name="T32" fmla="*/ 0 w 88"/>
                <a:gd name="T33" fmla="*/ 88107 h 96"/>
                <a:gd name="T34" fmla="*/ 17318 w 88"/>
                <a:gd name="T35" fmla="*/ 117475 h 96"/>
                <a:gd name="T36" fmla="*/ 34636 w 88"/>
                <a:gd name="T37" fmla="*/ 132160 h 96"/>
                <a:gd name="T38" fmla="*/ 34636 w 88"/>
                <a:gd name="T39" fmla="*/ 176213 h 96"/>
                <a:gd name="T40" fmla="*/ 86591 w 88"/>
                <a:gd name="T41" fmla="*/ 146844 h 96"/>
                <a:gd name="T42" fmla="*/ 121227 w 88"/>
                <a:gd name="T43" fmla="*/ 146844 h 96"/>
                <a:gd name="T44" fmla="*/ 155864 w 88"/>
                <a:gd name="T45" fmla="*/ 146844 h 96"/>
                <a:gd name="T46" fmla="*/ 173182 w 88"/>
                <a:gd name="T47" fmla="*/ 146844 h 9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8"/>
                <a:gd name="T73" fmla="*/ 0 h 96"/>
                <a:gd name="T74" fmla="*/ 88 w 88"/>
                <a:gd name="T75" fmla="*/ 96 h 9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8" h="96">
                  <a:moveTo>
                    <a:pt x="80" y="80"/>
                  </a:moveTo>
                  <a:lnTo>
                    <a:pt x="72" y="56"/>
                  </a:lnTo>
                  <a:lnTo>
                    <a:pt x="88" y="32"/>
                  </a:lnTo>
                  <a:lnTo>
                    <a:pt x="80" y="16"/>
                  </a:lnTo>
                  <a:lnTo>
                    <a:pt x="72" y="8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6"/>
                  </a:lnTo>
                  <a:lnTo>
                    <a:pt x="16" y="32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0" y="48"/>
                  </a:lnTo>
                  <a:lnTo>
                    <a:pt x="8" y="64"/>
                  </a:lnTo>
                  <a:lnTo>
                    <a:pt x="16" y="72"/>
                  </a:lnTo>
                  <a:lnTo>
                    <a:pt x="16" y="96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80"/>
                  </a:lnTo>
                  <a:lnTo>
                    <a:pt x="80" y="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97">
              <a:extLst>
                <a:ext uri="{FF2B5EF4-FFF2-40B4-BE49-F238E27FC236}">
                  <a16:creationId xmlns:a16="http://schemas.microsoft.com/office/drawing/2014/main" id="{300516F9-7178-4225-9666-F8630360B4B7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5737178" y="3935604"/>
              <a:ext cx="154187" cy="152441"/>
            </a:xfrm>
            <a:custGeom>
              <a:avLst/>
              <a:gdLst>
                <a:gd name="T0" fmla="*/ 87313 w 56"/>
                <a:gd name="T1" fmla="*/ 29369 h 64"/>
                <a:gd name="T2" fmla="*/ 104775 w 56"/>
                <a:gd name="T3" fmla="*/ 58738 h 64"/>
                <a:gd name="T4" fmla="*/ 122238 w 56"/>
                <a:gd name="T5" fmla="*/ 73422 h 64"/>
                <a:gd name="T6" fmla="*/ 122238 w 56"/>
                <a:gd name="T7" fmla="*/ 117475 h 64"/>
                <a:gd name="T8" fmla="*/ 104775 w 56"/>
                <a:gd name="T9" fmla="*/ 102791 h 64"/>
                <a:gd name="T10" fmla="*/ 0 w 56"/>
                <a:gd name="T11" fmla="*/ 44053 h 64"/>
                <a:gd name="T12" fmla="*/ 34925 w 56"/>
                <a:gd name="T13" fmla="*/ 0 h 64"/>
                <a:gd name="T14" fmla="*/ 52388 w 56"/>
                <a:gd name="T15" fmla="*/ 0 h 64"/>
                <a:gd name="T16" fmla="*/ 69850 w 56"/>
                <a:gd name="T17" fmla="*/ 29369 h 64"/>
                <a:gd name="T18" fmla="*/ 87313 w 56"/>
                <a:gd name="T19" fmla="*/ 29369 h 6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64"/>
                <a:gd name="T32" fmla="*/ 56 w 56"/>
                <a:gd name="T33" fmla="*/ 64 h 6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64">
                  <a:moveTo>
                    <a:pt x="40" y="16"/>
                  </a:moveTo>
                  <a:lnTo>
                    <a:pt x="48" y="32"/>
                  </a:lnTo>
                  <a:lnTo>
                    <a:pt x="56" y="40"/>
                  </a:lnTo>
                  <a:lnTo>
                    <a:pt x="56" y="64"/>
                  </a:lnTo>
                  <a:lnTo>
                    <a:pt x="48" y="56"/>
                  </a:lnTo>
                  <a:lnTo>
                    <a:pt x="0" y="24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2" y="16"/>
                  </a:lnTo>
                  <a:lnTo>
                    <a:pt x="4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eform 98">
              <a:extLst>
                <a:ext uri="{FF2B5EF4-FFF2-40B4-BE49-F238E27FC236}">
                  <a16:creationId xmlns:a16="http://schemas.microsoft.com/office/drawing/2014/main" id="{692978EF-299E-4F5B-A9E3-078A9F3AD17C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5540941" y="3628662"/>
              <a:ext cx="218264" cy="152441"/>
            </a:xfrm>
            <a:custGeom>
              <a:avLst/>
              <a:gdLst>
                <a:gd name="T0" fmla="*/ 155734 w 80"/>
                <a:gd name="T1" fmla="*/ 58738 h 64"/>
                <a:gd name="T2" fmla="*/ 173038 w 80"/>
                <a:gd name="T3" fmla="*/ 117475 h 64"/>
                <a:gd name="T4" fmla="*/ 103823 w 80"/>
                <a:gd name="T5" fmla="*/ 117475 h 64"/>
                <a:gd name="T6" fmla="*/ 17304 w 80"/>
                <a:gd name="T7" fmla="*/ 117475 h 64"/>
                <a:gd name="T8" fmla="*/ 17304 w 80"/>
                <a:gd name="T9" fmla="*/ 102791 h 64"/>
                <a:gd name="T10" fmla="*/ 51911 w 80"/>
                <a:gd name="T11" fmla="*/ 88106 h 64"/>
                <a:gd name="T12" fmla="*/ 86519 w 80"/>
                <a:gd name="T13" fmla="*/ 102791 h 64"/>
                <a:gd name="T14" fmla="*/ 103823 w 80"/>
                <a:gd name="T15" fmla="*/ 88106 h 64"/>
                <a:gd name="T16" fmla="*/ 51911 w 80"/>
                <a:gd name="T17" fmla="*/ 73422 h 64"/>
                <a:gd name="T18" fmla="*/ 17304 w 80"/>
                <a:gd name="T19" fmla="*/ 88106 h 64"/>
                <a:gd name="T20" fmla="*/ 17304 w 80"/>
                <a:gd name="T21" fmla="*/ 73422 h 64"/>
                <a:gd name="T22" fmla="*/ 0 w 80"/>
                <a:gd name="T23" fmla="*/ 58738 h 64"/>
                <a:gd name="T24" fmla="*/ 34608 w 80"/>
                <a:gd name="T25" fmla="*/ 29369 h 64"/>
                <a:gd name="T26" fmla="*/ 51911 w 80"/>
                <a:gd name="T27" fmla="*/ 14684 h 64"/>
                <a:gd name="T28" fmla="*/ 86519 w 80"/>
                <a:gd name="T29" fmla="*/ 0 h 64"/>
                <a:gd name="T30" fmla="*/ 121127 w 80"/>
                <a:gd name="T31" fmla="*/ 29369 h 64"/>
                <a:gd name="T32" fmla="*/ 155734 w 80"/>
                <a:gd name="T33" fmla="*/ 58738 h 6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0"/>
                <a:gd name="T52" fmla="*/ 0 h 64"/>
                <a:gd name="T53" fmla="*/ 80 w 80"/>
                <a:gd name="T54" fmla="*/ 64 h 6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0" h="64">
                  <a:moveTo>
                    <a:pt x="72" y="32"/>
                  </a:moveTo>
                  <a:lnTo>
                    <a:pt x="80" y="64"/>
                  </a:lnTo>
                  <a:lnTo>
                    <a:pt x="48" y="64"/>
                  </a:lnTo>
                  <a:lnTo>
                    <a:pt x="8" y="64"/>
                  </a:lnTo>
                  <a:lnTo>
                    <a:pt x="8" y="56"/>
                  </a:lnTo>
                  <a:lnTo>
                    <a:pt x="24" y="48"/>
                  </a:lnTo>
                  <a:lnTo>
                    <a:pt x="40" y="56"/>
                  </a:lnTo>
                  <a:lnTo>
                    <a:pt x="48" y="48"/>
                  </a:lnTo>
                  <a:lnTo>
                    <a:pt x="24" y="40"/>
                  </a:lnTo>
                  <a:lnTo>
                    <a:pt x="8" y="48"/>
                  </a:lnTo>
                  <a:lnTo>
                    <a:pt x="8" y="40"/>
                  </a:lnTo>
                  <a:lnTo>
                    <a:pt x="0" y="32"/>
                  </a:lnTo>
                  <a:lnTo>
                    <a:pt x="16" y="16"/>
                  </a:lnTo>
                  <a:lnTo>
                    <a:pt x="24" y="8"/>
                  </a:lnTo>
                  <a:lnTo>
                    <a:pt x="40" y="0"/>
                  </a:lnTo>
                  <a:lnTo>
                    <a:pt x="56" y="16"/>
                  </a:lnTo>
                  <a:lnTo>
                    <a:pt x="72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99">
              <a:extLst>
                <a:ext uri="{FF2B5EF4-FFF2-40B4-BE49-F238E27FC236}">
                  <a16:creationId xmlns:a16="http://schemas.microsoft.com/office/drawing/2014/main" id="{7519902D-0BD3-47CD-BDAC-09A2E242640B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5562968" y="3245501"/>
              <a:ext cx="436528" cy="459382"/>
            </a:xfrm>
            <a:custGeom>
              <a:avLst/>
              <a:gdLst>
                <a:gd name="T0" fmla="*/ 138430 w 160"/>
                <a:gd name="T1" fmla="*/ 354013 h 192"/>
                <a:gd name="T2" fmla="*/ 103822 w 160"/>
                <a:gd name="T3" fmla="*/ 324512 h 192"/>
                <a:gd name="T4" fmla="*/ 69215 w 160"/>
                <a:gd name="T5" fmla="*/ 295011 h 192"/>
                <a:gd name="T6" fmla="*/ 34608 w 160"/>
                <a:gd name="T7" fmla="*/ 309761 h 192"/>
                <a:gd name="T8" fmla="*/ 17304 w 160"/>
                <a:gd name="T9" fmla="*/ 324512 h 192"/>
                <a:gd name="T10" fmla="*/ 17304 w 160"/>
                <a:gd name="T11" fmla="*/ 265510 h 192"/>
                <a:gd name="T12" fmla="*/ 17304 w 160"/>
                <a:gd name="T13" fmla="*/ 221258 h 192"/>
                <a:gd name="T14" fmla="*/ 17304 w 160"/>
                <a:gd name="T15" fmla="*/ 191757 h 192"/>
                <a:gd name="T16" fmla="*/ 0 w 160"/>
                <a:gd name="T17" fmla="*/ 177007 h 192"/>
                <a:gd name="T18" fmla="*/ 17304 w 160"/>
                <a:gd name="T19" fmla="*/ 162256 h 192"/>
                <a:gd name="T20" fmla="*/ 121126 w 160"/>
                <a:gd name="T21" fmla="*/ 162256 h 192"/>
                <a:gd name="T22" fmla="*/ 121126 w 160"/>
                <a:gd name="T23" fmla="*/ 118004 h 192"/>
                <a:gd name="T24" fmla="*/ 155734 w 160"/>
                <a:gd name="T25" fmla="*/ 103254 h 192"/>
                <a:gd name="T26" fmla="*/ 155734 w 160"/>
                <a:gd name="T27" fmla="*/ 29501 h 192"/>
                <a:gd name="T28" fmla="*/ 242252 w 160"/>
                <a:gd name="T29" fmla="*/ 29501 h 192"/>
                <a:gd name="T30" fmla="*/ 242252 w 160"/>
                <a:gd name="T31" fmla="*/ 0 h 192"/>
                <a:gd name="T32" fmla="*/ 346075 w 160"/>
                <a:gd name="T33" fmla="*/ 59002 h 192"/>
                <a:gd name="T34" fmla="*/ 294164 w 160"/>
                <a:gd name="T35" fmla="*/ 59002 h 192"/>
                <a:gd name="T36" fmla="*/ 328771 w 160"/>
                <a:gd name="T37" fmla="*/ 324512 h 192"/>
                <a:gd name="T38" fmla="*/ 190341 w 160"/>
                <a:gd name="T39" fmla="*/ 324512 h 192"/>
                <a:gd name="T40" fmla="*/ 173038 w 160"/>
                <a:gd name="T41" fmla="*/ 339262 h 192"/>
                <a:gd name="T42" fmla="*/ 155734 w 160"/>
                <a:gd name="T43" fmla="*/ 324512 h 192"/>
                <a:gd name="T44" fmla="*/ 138430 w 160"/>
                <a:gd name="T45" fmla="*/ 354013 h 1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60"/>
                <a:gd name="T70" fmla="*/ 0 h 192"/>
                <a:gd name="T71" fmla="*/ 160 w 160"/>
                <a:gd name="T72" fmla="*/ 192 h 19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60" h="192">
                  <a:moveTo>
                    <a:pt x="64" y="192"/>
                  </a:moveTo>
                  <a:lnTo>
                    <a:pt x="48" y="176"/>
                  </a:lnTo>
                  <a:lnTo>
                    <a:pt x="32" y="160"/>
                  </a:lnTo>
                  <a:lnTo>
                    <a:pt x="16" y="168"/>
                  </a:lnTo>
                  <a:lnTo>
                    <a:pt x="8" y="176"/>
                  </a:lnTo>
                  <a:lnTo>
                    <a:pt x="8" y="144"/>
                  </a:lnTo>
                  <a:lnTo>
                    <a:pt x="8" y="120"/>
                  </a:lnTo>
                  <a:lnTo>
                    <a:pt x="8" y="104"/>
                  </a:lnTo>
                  <a:lnTo>
                    <a:pt x="0" y="96"/>
                  </a:lnTo>
                  <a:lnTo>
                    <a:pt x="8" y="88"/>
                  </a:lnTo>
                  <a:lnTo>
                    <a:pt x="56" y="88"/>
                  </a:lnTo>
                  <a:lnTo>
                    <a:pt x="56" y="64"/>
                  </a:lnTo>
                  <a:lnTo>
                    <a:pt x="72" y="56"/>
                  </a:lnTo>
                  <a:lnTo>
                    <a:pt x="72" y="16"/>
                  </a:lnTo>
                  <a:lnTo>
                    <a:pt x="112" y="16"/>
                  </a:lnTo>
                  <a:lnTo>
                    <a:pt x="112" y="0"/>
                  </a:lnTo>
                  <a:lnTo>
                    <a:pt x="160" y="32"/>
                  </a:lnTo>
                  <a:lnTo>
                    <a:pt x="136" y="32"/>
                  </a:lnTo>
                  <a:lnTo>
                    <a:pt x="152" y="176"/>
                  </a:lnTo>
                  <a:lnTo>
                    <a:pt x="88" y="176"/>
                  </a:lnTo>
                  <a:lnTo>
                    <a:pt x="80" y="184"/>
                  </a:lnTo>
                  <a:lnTo>
                    <a:pt x="72" y="176"/>
                  </a:lnTo>
                  <a:lnTo>
                    <a:pt x="64" y="19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100">
              <a:extLst>
                <a:ext uri="{FF2B5EF4-FFF2-40B4-BE49-F238E27FC236}">
                  <a16:creationId xmlns:a16="http://schemas.microsoft.com/office/drawing/2014/main" id="{4117B312-0AC0-475C-A8F5-73499FED916D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5562968" y="3226962"/>
              <a:ext cx="306371" cy="249261"/>
            </a:xfrm>
            <a:custGeom>
              <a:avLst/>
              <a:gdLst>
                <a:gd name="T0" fmla="*/ 242888 w 112"/>
                <a:gd name="T1" fmla="*/ 0 h 104"/>
                <a:gd name="T2" fmla="*/ 242888 w 112"/>
                <a:gd name="T3" fmla="*/ 14776 h 104"/>
                <a:gd name="T4" fmla="*/ 242888 w 112"/>
                <a:gd name="T5" fmla="*/ 44328 h 104"/>
                <a:gd name="T6" fmla="*/ 156142 w 112"/>
                <a:gd name="T7" fmla="*/ 44328 h 104"/>
                <a:gd name="T8" fmla="*/ 156142 w 112"/>
                <a:gd name="T9" fmla="*/ 118208 h 104"/>
                <a:gd name="T10" fmla="*/ 121444 w 112"/>
                <a:gd name="T11" fmla="*/ 132984 h 104"/>
                <a:gd name="T12" fmla="*/ 121444 w 112"/>
                <a:gd name="T13" fmla="*/ 177312 h 104"/>
                <a:gd name="T14" fmla="*/ 17349 w 112"/>
                <a:gd name="T15" fmla="*/ 177312 h 104"/>
                <a:gd name="T16" fmla="*/ 0 w 112"/>
                <a:gd name="T17" fmla="*/ 192088 h 104"/>
                <a:gd name="T18" fmla="*/ 0 w 112"/>
                <a:gd name="T19" fmla="*/ 162536 h 104"/>
                <a:gd name="T20" fmla="*/ 69397 w 112"/>
                <a:gd name="T21" fmla="*/ 88656 h 104"/>
                <a:gd name="T22" fmla="*/ 86746 w 112"/>
                <a:gd name="T23" fmla="*/ 44328 h 104"/>
                <a:gd name="T24" fmla="*/ 104095 w 112"/>
                <a:gd name="T25" fmla="*/ 29552 h 104"/>
                <a:gd name="T26" fmla="*/ 121444 w 112"/>
                <a:gd name="T27" fmla="*/ 0 h 104"/>
                <a:gd name="T28" fmla="*/ 242888 w 112"/>
                <a:gd name="T29" fmla="*/ 0 h 10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2"/>
                <a:gd name="T46" fmla="*/ 0 h 104"/>
                <a:gd name="T47" fmla="*/ 112 w 112"/>
                <a:gd name="T48" fmla="*/ 104 h 10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2" h="104">
                  <a:moveTo>
                    <a:pt x="112" y="0"/>
                  </a:moveTo>
                  <a:lnTo>
                    <a:pt x="112" y="8"/>
                  </a:lnTo>
                  <a:lnTo>
                    <a:pt x="112" y="24"/>
                  </a:lnTo>
                  <a:lnTo>
                    <a:pt x="72" y="24"/>
                  </a:lnTo>
                  <a:lnTo>
                    <a:pt x="72" y="64"/>
                  </a:lnTo>
                  <a:lnTo>
                    <a:pt x="56" y="72"/>
                  </a:lnTo>
                  <a:lnTo>
                    <a:pt x="56" y="96"/>
                  </a:lnTo>
                  <a:lnTo>
                    <a:pt x="8" y="96"/>
                  </a:lnTo>
                  <a:lnTo>
                    <a:pt x="0" y="104"/>
                  </a:lnTo>
                  <a:lnTo>
                    <a:pt x="0" y="88"/>
                  </a:lnTo>
                  <a:lnTo>
                    <a:pt x="32" y="48"/>
                  </a:lnTo>
                  <a:lnTo>
                    <a:pt x="40" y="24"/>
                  </a:lnTo>
                  <a:lnTo>
                    <a:pt x="48" y="16"/>
                  </a:lnTo>
                  <a:lnTo>
                    <a:pt x="56" y="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101">
              <a:extLst>
                <a:ext uri="{FF2B5EF4-FFF2-40B4-BE49-F238E27FC236}">
                  <a16:creationId xmlns:a16="http://schemas.microsoft.com/office/drawing/2014/main" id="{D9259570-BCA6-40DF-B2EF-64FB4E649B3B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6436023" y="2882940"/>
              <a:ext cx="130158" cy="247201"/>
            </a:xfrm>
            <a:custGeom>
              <a:avLst/>
              <a:gdLst>
                <a:gd name="T0" fmla="*/ 103188 w 48"/>
                <a:gd name="T1" fmla="*/ 117231 h 104"/>
                <a:gd name="T2" fmla="*/ 103188 w 48"/>
                <a:gd name="T3" fmla="*/ 146538 h 104"/>
                <a:gd name="T4" fmla="*/ 68792 w 48"/>
                <a:gd name="T5" fmla="*/ 161192 h 104"/>
                <a:gd name="T6" fmla="*/ 68792 w 48"/>
                <a:gd name="T7" fmla="*/ 190500 h 104"/>
                <a:gd name="T8" fmla="*/ 51594 w 48"/>
                <a:gd name="T9" fmla="*/ 190500 h 104"/>
                <a:gd name="T10" fmla="*/ 51594 w 48"/>
                <a:gd name="T11" fmla="*/ 146538 h 104"/>
                <a:gd name="T12" fmla="*/ 17198 w 48"/>
                <a:gd name="T13" fmla="*/ 131885 h 104"/>
                <a:gd name="T14" fmla="*/ 0 w 48"/>
                <a:gd name="T15" fmla="*/ 102577 h 104"/>
                <a:gd name="T16" fmla="*/ 34396 w 48"/>
                <a:gd name="T17" fmla="*/ 73269 h 104"/>
                <a:gd name="T18" fmla="*/ 34396 w 48"/>
                <a:gd name="T19" fmla="*/ 29308 h 104"/>
                <a:gd name="T20" fmla="*/ 34396 w 48"/>
                <a:gd name="T21" fmla="*/ 14654 h 104"/>
                <a:gd name="T22" fmla="*/ 68792 w 48"/>
                <a:gd name="T23" fmla="*/ 0 h 104"/>
                <a:gd name="T24" fmla="*/ 68792 w 48"/>
                <a:gd name="T25" fmla="*/ 14654 h 104"/>
                <a:gd name="T26" fmla="*/ 85990 w 48"/>
                <a:gd name="T27" fmla="*/ 14654 h 104"/>
                <a:gd name="T28" fmla="*/ 103188 w 48"/>
                <a:gd name="T29" fmla="*/ 14654 h 104"/>
                <a:gd name="T30" fmla="*/ 85990 w 48"/>
                <a:gd name="T31" fmla="*/ 29308 h 104"/>
                <a:gd name="T32" fmla="*/ 103188 w 48"/>
                <a:gd name="T33" fmla="*/ 58615 h 104"/>
                <a:gd name="T34" fmla="*/ 68792 w 48"/>
                <a:gd name="T35" fmla="*/ 87923 h 104"/>
                <a:gd name="T36" fmla="*/ 68792 w 48"/>
                <a:gd name="T37" fmla="*/ 102577 h 104"/>
                <a:gd name="T38" fmla="*/ 103188 w 48"/>
                <a:gd name="T39" fmla="*/ 102577 h 104"/>
                <a:gd name="T40" fmla="*/ 103188 w 48"/>
                <a:gd name="T41" fmla="*/ 117231 h 10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8"/>
                <a:gd name="T64" fmla="*/ 0 h 104"/>
                <a:gd name="T65" fmla="*/ 48 w 48"/>
                <a:gd name="T66" fmla="*/ 104 h 10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8" h="104">
                  <a:moveTo>
                    <a:pt x="48" y="64"/>
                  </a:moveTo>
                  <a:lnTo>
                    <a:pt x="48" y="80"/>
                  </a:lnTo>
                  <a:lnTo>
                    <a:pt x="32" y="88"/>
                  </a:lnTo>
                  <a:lnTo>
                    <a:pt x="32" y="104"/>
                  </a:lnTo>
                  <a:lnTo>
                    <a:pt x="24" y="104"/>
                  </a:lnTo>
                  <a:lnTo>
                    <a:pt x="24" y="80"/>
                  </a:lnTo>
                  <a:lnTo>
                    <a:pt x="8" y="72"/>
                  </a:lnTo>
                  <a:lnTo>
                    <a:pt x="0" y="56"/>
                  </a:lnTo>
                  <a:lnTo>
                    <a:pt x="16" y="40"/>
                  </a:lnTo>
                  <a:lnTo>
                    <a:pt x="16" y="16"/>
                  </a:lnTo>
                  <a:lnTo>
                    <a:pt x="16" y="8"/>
                  </a:lnTo>
                  <a:lnTo>
                    <a:pt x="32" y="0"/>
                  </a:lnTo>
                  <a:lnTo>
                    <a:pt x="32" y="8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0" y="16"/>
                  </a:lnTo>
                  <a:lnTo>
                    <a:pt x="48" y="32"/>
                  </a:lnTo>
                  <a:lnTo>
                    <a:pt x="32" y="48"/>
                  </a:lnTo>
                  <a:lnTo>
                    <a:pt x="32" y="56"/>
                  </a:lnTo>
                  <a:lnTo>
                    <a:pt x="48" y="56"/>
                  </a:lnTo>
                  <a:lnTo>
                    <a:pt x="48" y="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102">
              <a:extLst>
                <a:ext uri="{FF2B5EF4-FFF2-40B4-BE49-F238E27FC236}">
                  <a16:creationId xmlns:a16="http://schemas.microsoft.com/office/drawing/2014/main" id="{9E33953F-EB38-4AA2-8DC2-6024D89D8880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891365" y="2652219"/>
              <a:ext cx="414502" cy="286342"/>
            </a:xfrm>
            <a:custGeom>
              <a:avLst/>
              <a:gdLst>
                <a:gd name="T0" fmla="*/ 242136 w 152"/>
                <a:gd name="T1" fmla="*/ 29422 h 120"/>
                <a:gd name="T2" fmla="*/ 328613 w 152"/>
                <a:gd name="T3" fmla="*/ 29422 h 120"/>
                <a:gd name="T4" fmla="*/ 328613 w 152"/>
                <a:gd name="T5" fmla="*/ 58843 h 120"/>
                <a:gd name="T6" fmla="*/ 276727 w 152"/>
                <a:gd name="T7" fmla="*/ 73554 h 120"/>
                <a:gd name="T8" fmla="*/ 224840 w 152"/>
                <a:gd name="T9" fmla="*/ 117687 h 120"/>
                <a:gd name="T10" fmla="*/ 242136 w 152"/>
                <a:gd name="T11" fmla="*/ 147109 h 120"/>
                <a:gd name="T12" fmla="*/ 172954 w 152"/>
                <a:gd name="T13" fmla="*/ 191241 h 120"/>
                <a:gd name="T14" fmla="*/ 121068 w 152"/>
                <a:gd name="T15" fmla="*/ 191241 h 120"/>
                <a:gd name="T16" fmla="*/ 86477 w 152"/>
                <a:gd name="T17" fmla="*/ 220663 h 120"/>
                <a:gd name="T18" fmla="*/ 51886 w 152"/>
                <a:gd name="T19" fmla="*/ 176530 h 120"/>
                <a:gd name="T20" fmla="*/ 51886 w 152"/>
                <a:gd name="T21" fmla="*/ 147109 h 120"/>
                <a:gd name="T22" fmla="*/ 51886 w 152"/>
                <a:gd name="T23" fmla="*/ 117687 h 120"/>
                <a:gd name="T24" fmla="*/ 69182 w 152"/>
                <a:gd name="T25" fmla="*/ 102976 h 120"/>
                <a:gd name="T26" fmla="*/ 69182 w 152"/>
                <a:gd name="T27" fmla="*/ 88265 h 120"/>
                <a:gd name="T28" fmla="*/ 86477 w 152"/>
                <a:gd name="T29" fmla="*/ 58843 h 120"/>
                <a:gd name="T30" fmla="*/ 69182 w 152"/>
                <a:gd name="T31" fmla="*/ 58843 h 120"/>
                <a:gd name="T32" fmla="*/ 17295 w 152"/>
                <a:gd name="T33" fmla="*/ 58843 h 120"/>
                <a:gd name="T34" fmla="*/ 0 w 152"/>
                <a:gd name="T35" fmla="*/ 29422 h 120"/>
                <a:gd name="T36" fmla="*/ 17295 w 152"/>
                <a:gd name="T37" fmla="*/ 14711 h 120"/>
                <a:gd name="T38" fmla="*/ 34591 w 152"/>
                <a:gd name="T39" fmla="*/ 0 h 120"/>
                <a:gd name="T40" fmla="*/ 138363 w 152"/>
                <a:gd name="T41" fmla="*/ 14711 h 120"/>
                <a:gd name="T42" fmla="*/ 190250 w 152"/>
                <a:gd name="T43" fmla="*/ 14711 h 120"/>
                <a:gd name="T44" fmla="*/ 207545 w 152"/>
                <a:gd name="T45" fmla="*/ 14711 h 120"/>
                <a:gd name="T46" fmla="*/ 242136 w 152"/>
                <a:gd name="T47" fmla="*/ 29422 h 12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2"/>
                <a:gd name="T73" fmla="*/ 0 h 120"/>
                <a:gd name="T74" fmla="*/ 152 w 152"/>
                <a:gd name="T75" fmla="*/ 120 h 12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2" h="120">
                  <a:moveTo>
                    <a:pt x="112" y="16"/>
                  </a:moveTo>
                  <a:lnTo>
                    <a:pt x="152" y="16"/>
                  </a:lnTo>
                  <a:lnTo>
                    <a:pt x="152" y="32"/>
                  </a:lnTo>
                  <a:lnTo>
                    <a:pt x="128" y="40"/>
                  </a:lnTo>
                  <a:lnTo>
                    <a:pt x="104" y="64"/>
                  </a:lnTo>
                  <a:lnTo>
                    <a:pt x="112" y="80"/>
                  </a:lnTo>
                  <a:lnTo>
                    <a:pt x="80" y="104"/>
                  </a:lnTo>
                  <a:lnTo>
                    <a:pt x="56" y="104"/>
                  </a:lnTo>
                  <a:lnTo>
                    <a:pt x="40" y="120"/>
                  </a:lnTo>
                  <a:lnTo>
                    <a:pt x="24" y="96"/>
                  </a:lnTo>
                  <a:lnTo>
                    <a:pt x="24" y="80"/>
                  </a:lnTo>
                  <a:lnTo>
                    <a:pt x="24" y="64"/>
                  </a:lnTo>
                  <a:lnTo>
                    <a:pt x="32" y="56"/>
                  </a:lnTo>
                  <a:lnTo>
                    <a:pt x="32" y="48"/>
                  </a:lnTo>
                  <a:lnTo>
                    <a:pt x="40" y="32"/>
                  </a:lnTo>
                  <a:lnTo>
                    <a:pt x="32" y="32"/>
                  </a:lnTo>
                  <a:lnTo>
                    <a:pt x="8" y="32"/>
                  </a:lnTo>
                  <a:lnTo>
                    <a:pt x="0" y="16"/>
                  </a:lnTo>
                  <a:lnTo>
                    <a:pt x="8" y="8"/>
                  </a:lnTo>
                  <a:lnTo>
                    <a:pt x="16" y="0"/>
                  </a:lnTo>
                  <a:lnTo>
                    <a:pt x="64" y="8"/>
                  </a:lnTo>
                  <a:lnTo>
                    <a:pt x="88" y="8"/>
                  </a:lnTo>
                  <a:lnTo>
                    <a:pt x="96" y="8"/>
                  </a:lnTo>
                  <a:lnTo>
                    <a:pt x="112" y="16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103">
              <a:extLst>
                <a:ext uri="{FF2B5EF4-FFF2-40B4-BE49-F238E27FC236}">
                  <a16:creationId xmlns:a16="http://schemas.microsoft.com/office/drawing/2014/main" id="{56E5A31B-0C50-49A1-9D6B-BAACB443E146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5869338" y="2728440"/>
              <a:ext cx="130158" cy="173041"/>
            </a:xfrm>
            <a:custGeom>
              <a:avLst/>
              <a:gdLst>
                <a:gd name="T0" fmla="*/ 68792 w 48"/>
                <a:gd name="T1" fmla="*/ 88900 h 72"/>
                <a:gd name="T2" fmla="*/ 68792 w 48"/>
                <a:gd name="T3" fmla="*/ 59267 h 72"/>
                <a:gd name="T4" fmla="*/ 85990 w 48"/>
                <a:gd name="T5" fmla="*/ 44450 h 72"/>
                <a:gd name="T6" fmla="*/ 85990 w 48"/>
                <a:gd name="T7" fmla="*/ 29633 h 72"/>
                <a:gd name="T8" fmla="*/ 103188 w 48"/>
                <a:gd name="T9" fmla="*/ 0 h 72"/>
                <a:gd name="T10" fmla="*/ 85990 w 48"/>
                <a:gd name="T11" fmla="*/ 0 h 72"/>
                <a:gd name="T12" fmla="*/ 34396 w 48"/>
                <a:gd name="T13" fmla="*/ 0 h 72"/>
                <a:gd name="T14" fmla="*/ 34396 w 48"/>
                <a:gd name="T15" fmla="*/ 14817 h 72"/>
                <a:gd name="T16" fmla="*/ 0 w 48"/>
                <a:gd name="T17" fmla="*/ 74083 h 72"/>
                <a:gd name="T18" fmla="*/ 17198 w 48"/>
                <a:gd name="T19" fmla="*/ 88900 h 72"/>
                <a:gd name="T20" fmla="*/ 17198 w 48"/>
                <a:gd name="T21" fmla="*/ 133350 h 72"/>
                <a:gd name="T22" fmla="*/ 68792 w 48"/>
                <a:gd name="T23" fmla="*/ 118533 h 72"/>
                <a:gd name="T24" fmla="*/ 68792 w 48"/>
                <a:gd name="T25" fmla="*/ 88900 h 7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"/>
                <a:gd name="T40" fmla="*/ 0 h 72"/>
                <a:gd name="T41" fmla="*/ 48 w 48"/>
                <a:gd name="T42" fmla="*/ 72 h 7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" h="72">
                  <a:moveTo>
                    <a:pt x="32" y="48"/>
                  </a:moveTo>
                  <a:lnTo>
                    <a:pt x="32" y="32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0" y="40"/>
                  </a:lnTo>
                  <a:lnTo>
                    <a:pt x="8" y="48"/>
                  </a:lnTo>
                  <a:lnTo>
                    <a:pt x="8" y="72"/>
                  </a:lnTo>
                  <a:lnTo>
                    <a:pt x="32" y="64"/>
                  </a:lnTo>
                  <a:lnTo>
                    <a:pt x="32" y="48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104">
              <a:extLst>
                <a:ext uri="{FF2B5EF4-FFF2-40B4-BE49-F238E27FC236}">
                  <a16:creationId xmlns:a16="http://schemas.microsoft.com/office/drawing/2014/main" id="{5A0EBF07-E693-47F2-AF46-68D4144632DC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6065575" y="2384418"/>
              <a:ext cx="392474" cy="306942"/>
            </a:xfrm>
            <a:custGeom>
              <a:avLst/>
              <a:gdLst>
                <a:gd name="T0" fmla="*/ 311150 w 144"/>
                <a:gd name="T1" fmla="*/ 103485 h 128"/>
                <a:gd name="T2" fmla="*/ 311150 w 144"/>
                <a:gd name="T3" fmla="*/ 73918 h 128"/>
                <a:gd name="T4" fmla="*/ 276578 w 144"/>
                <a:gd name="T5" fmla="*/ 44351 h 128"/>
                <a:gd name="T6" fmla="*/ 259292 w 144"/>
                <a:gd name="T7" fmla="*/ 44351 h 128"/>
                <a:gd name="T8" fmla="*/ 242006 w 144"/>
                <a:gd name="T9" fmla="*/ 44351 h 128"/>
                <a:gd name="T10" fmla="*/ 242006 w 144"/>
                <a:gd name="T11" fmla="*/ 29567 h 128"/>
                <a:gd name="T12" fmla="*/ 224719 w 144"/>
                <a:gd name="T13" fmla="*/ 44351 h 128"/>
                <a:gd name="T14" fmla="*/ 190147 w 144"/>
                <a:gd name="T15" fmla="*/ 14784 h 128"/>
                <a:gd name="T16" fmla="*/ 190147 w 144"/>
                <a:gd name="T17" fmla="*/ 0 h 128"/>
                <a:gd name="T18" fmla="*/ 172861 w 144"/>
                <a:gd name="T19" fmla="*/ 14784 h 128"/>
                <a:gd name="T20" fmla="*/ 155575 w 144"/>
                <a:gd name="T21" fmla="*/ 29567 h 128"/>
                <a:gd name="T22" fmla="*/ 121003 w 144"/>
                <a:gd name="T23" fmla="*/ 44351 h 128"/>
                <a:gd name="T24" fmla="*/ 121003 w 144"/>
                <a:gd name="T25" fmla="*/ 59135 h 128"/>
                <a:gd name="T26" fmla="*/ 86431 w 144"/>
                <a:gd name="T27" fmla="*/ 59135 h 128"/>
                <a:gd name="T28" fmla="*/ 86431 w 144"/>
                <a:gd name="T29" fmla="*/ 44351 h 128"/>
                <a:gd name="T30" fmla="*/ 69144 w 144"/>
                <a:gd name="T31" fmla="*/ 44351 h 128"/>
                <a:gd name="T32" fmla="*/ 86431 w 144"/>
                <a:gd name="T33" fmla="*/ 73918 h 128"/>
                <a:gd name="T34" fmla="*/ 51858 w 144"/>
                <a:gd name="T35" fmla="*/ 73918 h 128"/>
                <a:gd name="T36" fmla="*/ 34572 w 144"/>
                <a:gd name="T37" fmla="*/ 73918 h 128"/>
                <a:gd name="T38" fmla="*/ 0 w 144"/>
                <a:gd name="T39" fmla="*/ 73918 h 128"/>
                <a:gd name="T40" fmla="*/ 0 w 144"/>
                <a:gd name="T41" fmla="*/ 88702 h 128"/>
                <a:gd name="T42" fmla="*/ 51858 w 144"/>
                <a:gd name="T43" fmla="*/ 103485 h 128"/>
                <a:gd name="T44" fmla="*/ 86431 w 144"/>
                <a:gd name="T45" fmla="*/ 133053 h 128"/>
                <a:gd name="T46" fmla="*/ 86431 w 144"/>
                <a:gd name="T47" fmla="*/ 147836 h 128"/>
                <a:gd name="T48" fmla="*/ 69144 w 144"/>
                <a:gd name="T49" fmla="*/ 206971 h 128"/>
                <a:gd name="T50" fmla="*/ 69144 w 144"/>
                <a:gd name="T51" fmla="*/ 221754 h 128"/>
                <a:gd name="T52" fmla="*/ 103717 w 144"/>
                <a:gd name="T53" fmla="*/ 236538 h 128"/>
                <a:gd name="T54" fmla="*/ 190147 w 144"/>
                <a:gd name="T55" fmla="*/ 236538 h 128"/>
                <a:gd name="T56" fmla="*/ 207433 w 144"/>
                <a:gd name="T57" fmla="*/ 221754 h 128"/>
                <a:gd name="T58" fmla="*/ 276578 w 144"/>
                <a:gd name="T59" fmla="*/ 221754 h 128"/>
                <a:gd name="T60" fmla="*/ 311150 w 144"/>
                <a:gd name="T61" fmla="*/ 206971 h 128"/>
                <a:gd name="T62" fmla="*/ 276578 w 144"/>
                <a:gd name="T63" fmla="*/ 177403 h 128"/>
                <a:gd name="T64" fmla="*/ 293864 w 144"/>
                <a:gd name="T65" fmla="*/ 147836 h 128"/>
                <a:gd name="T66" fmla="*/ 276578 w 144"/>
                <a:gd name="T67" fmla="*/ 133053 h 128"/>
                <a:gd name="T68" fmla="*/ 276578 w 144"/>
                <a:gd name="T69" fmla="*/ 147836 h 128"/>
                <a:gd name="T70" fmla="*/ 259292 w 144"/>
                <a:gd name="T71" fmla="*/ 133053 h 128"/>
                <a:gd name="T72" fmla="*/ 293864 w 144"/>
                <a:gd name="T73" fmla="*/ 103485 h 128"/>
                <a:gd name="T74" fmla="*/ 311150 w 144"/>
                <a:gd name="T75" fmla="*/ 103485 h 12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4"/>
                <a:gd name="T115" fmla="*/ 0 h 128"/>
                <a:gd name="T116" fmla="*/ 144 w 144"/>
                <a:gd name="T117" fmla="*/ 128 h 12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4" h="128">
                  <a:moveTo>
                    <a:pt x="144" y="56"/>
                  </a:moveTo>
                  <a:lnTo>
                    <a:pt x="144" y="40"/>
                  </a:lnTo>
                  <a:lnTo>
                    <a:pt x="128" y="24"/>
                  </a:lnTo>
                  <a:lnTo>
                    <a:pt x="120" y="24"/>
                  </a:lnTo>
                  <a:lnTo>
                    <a:pt x="112" y="24"/>
                  </a:lnTo>
                  <a:lnTo>
                    <a:pt x="112" y="16"/>
                  </a:lnTo>
                  <a:lnTo>
                    <a:pt x="104" y="24"/>
                  </a:lnTo>
                  <a:lnTo>
                    <a:pt x="88" y="8"/>
                  </a:lnTo>
                  <a:lnTo>
                    <a:pt x="88" y="0"/>
                  </a:lnTo>
                  <a:lnTo>
                    <a:pt x="80" y="8"/>
                  </a:lnTo>
                  <a:lnTo>
                    <a:pt x="72" y="16"/>
                  </a:lnTo>
                  <a:lnTo>
                    <a:pt x="56" y="24"/>
                  </a:lnTo>
                  <a:lnTo>
                    <a:pt x="56" y="32"/>
                  </a:lnTo>
                  <a:lnTo>
                    <a:pt x="40" y="32"/>
                  </a:lnTo>
                  <a:lnTo>
                    <a:pt x="40" y="24"/>
                  </a:lnTo>
                  <a:lnTo>
                    <a:pt x="32" y="24"/>
                  </a:lnTo>
                  <a:lnTo>
                    <a:pt x="40" y="40"/>
                  </a:lnTo>
                  <a:lnTo>
                    <a:pt x="24" y="40"/>
                  </a:lnTo>
                  <a:lnTo>
                    <a:pt x="16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24" y="56"/>
                  </a:lnTo>
                  <a:lnTo>
                    <a:pt x="40" y="72"/>
                  </a:lnTo>
                  <a:lnTo>
                    <a:pt x="40" y="80"/>
                  </a:lnTo>
                  <a:lnTo>
                    <a:pt x="32" y="112"/>
                  </a:lnTo>
                  <a:lnTo>
                    <a:pt x="32" y="120"/>
                  </a:lnTo>
                  <a:lnTo>
                    <a:pt x="48" y="128"/>
                  </a:lnTo>
                  <a:lnTo>
                    <a:pt x="88" y="128"/>
                  </a:lnTo>
                  <a:lnTo>
                    <a:pt x="96" y="120"/>
                  </a:lnTo>
                  <a:lnTo>
                    <a:pt x="128" y="120"/>
                  </a:lnTo>
                  <a:lnTo>
                    <a:pt x="144" y="112"/>
                  </a:lnTo>
                  <a:lnTo>
                    <a:pt x="128" y="96"/>
                  </a:lnTo>
                  <a:lnTo>
                    <a:pt x="136" y="80"/>
                  </a:lnTo>
                  <a:lnTo>
                    <a:pt x="128" y="72"/>
                  </a:lnTo>
                  <a:lnTo>
                    <a:pt x="128" y="80"/>
                  </a:lnTo>
                  <a:lnTo>
                    <a:pt x="120" y="72"/>
                  </a:lnTo>
                  <a:lnTo>
                    <a:pt x="136" y="56"/>
                  </a:lnTo>
                  <a:lnTo>
                    <a:pt x="144" y="56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105">
              <a:extLst>
                <a:ext uri="{FF2B5EF4-FFF2-40B4-BE49-F238E27FC236}">
                  <a16:creationId xmlns:a16="http://schemas.microsoft.com/office/drawing/2014/main" id="{9484AB6A-F0DF-4BBC-8359-91AF5D3F08E5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6413996" y="2536859"/>
              <a:ext cx="392474" cy="325481"/>
            </a:xfrm>
            <a:custGeom>
              <a:avLst/>
              <a:gdLst>
                <a:gd name="T0" fmla="*/ 0 w 144"/>
                <a:gd name="T1" fmla="*/ 59018 h 136"/>
                <a:gd name="T2" fmla="*/ 17286 w 144"/>
                <a:gd name="T3" fmla="*/ 29509 h 136"/>
                <a:gd name="T4" fmla="*/ 51858 w 144"/>
                <a:gd name="T5" fmla="*/ 14754 h 136"/>
                <a:gd name="T6" fmla="*/ 69144 w 144"/>
                <a:gd name="T7" fmla="*/ 29509 h 136"/>
                <a:gd name="T8" fmla="*/ 69144 w 144"/>
                <a:gd name="T9" fmla="*/ 14754 h 136"/>
                <a:gd name="T10" fmla="*/ 86431 w 144"/>
                <a:gd name="T11" fmla="*/ 14754 h 136"/>
                <a:gd name="T12" fmla="*/ 103717 w 144"/>
                <a:gd name="T13" fmla="*/ 0 h 136"/>
                <a:gd name="T14" fmla="*/ 138289 w 144"/>
                <a:gd name="T15" fmla="*/ 0 h 136"/>
                <a:gd name="T16" fmla="*/ 155575 w 144"/>
                <a:gd name="T17" fmla="*/ 0 h 136"/>
                <a:gd name="T18" fmla="*/ 190147 w 144"/>
                <a:gd name="T19" fmla="*/ 14754 h 136"/>
                <a:gd name="T20" fmla="*/ 190147 w 144"/>
                <a:gd name="T21" fmla="*/ 29509 h 136"/>
                <a:gd name="T22" fmla="*/ 190147 w 144"/>
                <a:gd name="T23" fmla="*/ 44263 h 136"/>
                <a:gd name="T24" fmla="*/ 172861 w 144"/>
                <a:gd name="T25" fmla="*/ 29509 h 136"/>
                <a:gd name="T26" fmla="*/ 155575 w 144"/>
                <a:gd name="T27" fmla="*/ 44263 h 136"/>
                <a:gd name="T28" fmla="*/ 155575 w 144"/>
                <a:gd name="T29" fmla="*/ 73772 h 136"/>
                <a:gd name="T30" fmla="*/ 190147 w 144"/>
                <a:gd name="T31" fmla="*/ 103281 h 136"/>
                <a:gd name="T32" fmla="*/ 207433 w 144"/>
                <a:gd name="T33" fmla="*/ 132790 h 136"/>
                <a:gd name="T34" fmla="*/ 224719 w 144"/>
                <a:gd name="T35" fmla="*/ 147544 h 136"/>
                <a:gd name="T36" fmla="*/ 259292 w 144"/>
                <a:gd name="T37" fmla="*/ 147544 h 136"/>
                <a:gd name="T38" fmla="*/ 242006 w 144"/>
                <a:gd name="T39" fmla="*/ 147544 h 136"/>
                <a:gd name="T40" fmla="*/ 311150 w 144"/>
                <a:gd name="T41" fmla="*/ 191807 h 136"/>
                <a:gd name="T42" fmla="*/ 276578 w 144"/>
                <a:gd name="T43" fmla="*/ 177053 h 136"/>
                <a:gd name="T44" fmla="*/ 259292 w 144"/>
                <a:gd name="T45" fmla="*/ 206562 h 136"/>
                <a:gd name="T46" fmla="*/ 276578 w 144"/>
                <a:gd name="T47" fmla="*/ 206562 h 136"/>
                <a:gd name="T48" fmla="*/ 276578 w 144"/>
                <a:gd name="T49" fmla="*/ 221316 h 136"/>
                <a:gd name="T50" fmla="*/ 259292 w 144"/>
                <a:gd name="T51" fmla="*/ 221316 h 136"/>
                <a:gd name="T52" fmla="*/ 259292 w 144"/>
                <a:gd name="T53" fmla="*/ 250825 h 136"/>
                <a:gd name="T54" fmla="*/ 242006 w 144"/>
                <a:gd name="T55" fmla="*/ 250825 h 136"/>
                <a:gd name="T56" fmla="*/ 259292 w 144"/>
                <a:gd name="T57" fmla="*/ 221316 h 136"/>
                <a:gd name="T58" fmla="*/ 242006 w 144"/>
                <a:gd name="T59" fmla="*/ 191807 h 136"/>
                <a:gd name="T60" fmla="*/ 190147 w 144"/>
                <a:gd name="T61" fmla="*/ 162299 h 136"/>
                <a:gd name="T62" fmla="*/ 155575 w 144"/>
                <a:gd name="T63" fmla="*/ 147544 h 136"/>
                <a:gd name="T64" fmla="*/ 138289 w 144"/>
                <a:gd name="T65" fmla="*/ 132790 h 136"/>
                <a:gd name="T66" fmla="*/ 121003 w 144"/>
                <a:gd name="T67" fmla="*/ 132790 h 136"/>
                <a:gd name="T68" fmla="*/ 86431 w 144"/>
                <a:gd name="T69" fmla="*/ 88526 h 136"/>
                <a:gd name="T70" fmla="*/ 51858 w 144"/>
                <a:gd name="T71" fmla="*/ 73772 h 136"/>
                <a:gd name="T72" fmla="*/ 34572 w 144"/>
                <a:gd name="T73" fmla="*/ 88526 h 136"/>
                <a:gd name="T74" fmla="*/ 0 w 144"/>
                <a:gd name="T75" fmla="*/ 59018 h 1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4"/>
                <a:gd name="T115" fmla="*/ 0 h 136"/>
                <a:gd name="T116" fmla="*/ 144 w 144"/>
                <a:gd name="T117" fmla="*/ 136 h 1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4" h="136">
                  <a:moveTo>
                    <a:pt x="0" y="32"/>
                  </a:moveTo>
                  <a:lnTo>
                    <a:pt x="8" y="16"/>
                  </a:lnTo>
                  <a:lnTo>
                    <a:pt x="24" y="8"/>
                  </a:lnTo>
                  <a:lnTo>
                    <a:pt x="32" y="16"/>
                  </a:lnTo>
                  <a:lnTo>
                    <a:pt x="32" y="8"/>
                  </a:lnTo>
                  <a:lnTo>
                    <a:pt x="40" y="8"/>
                  </a:lnTo>
                  <a:lnTo>
                    <a:pt x="48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8" y="8"/>
                  </a:lnTo>
                  <a:lnTo>
                    <a:pt x="88" y="16"/>
                  </a:lnTo>
                  <a:lnTo>
                    <a:pt x="88" y="24"/>
                  </a:lnTo>
                  <a:lnTo>
                    <a:pt x="80" y="16"/>
                  </a:lnTo>
                  <a:lnTo>
                    <a:pt x="72" y="24"/>
                  </a:lnTo>
                  <a:lnTo>
                    <a:pt x="72" y="40"/>
                  </a:lnTo>
                  <a:lnTo>
                    <a:pt x="88" y="56"/>
                  </a:lnTo>
                  <a:lnTo>
                    <a:pt x="96" y="72"/>
                  </a:lnTo>
                  <a:lnTo>
                    <a:pt x="104" y="80"/>
                  </a:lnTo>
                  <a:lnTo>
                    <a:pt x="120" y="80"/>
                  </a:lnTo>
                  <a:lnTo>
                    <a:pt x="112" y="80"/>
                  </a:lnTo>
                  <a:lnTo>
                    <a:pt x="144" y="104"/>
                  </a:lnTo>
                  <a:lnTo>
                    <a:pt x="128" y="96"/>
                  </a:lnTo>
                  <a:lnTo>
                    <a:pt x="120" y="112"/>
                  </a:lnTo>
                  <a:lnTo>
                    <a:pt x="128" y="112"/>
                  </a:lnTo>
                  <a:lnTo>
                    <a:pt x="128" y="120"/>
                  </a:lnTo>
                  <a:lnTo>
                    <a:pt x="120" y="120"/>
                  </a:lnTo>
                  <a:lnTo>
                    <a:pt x="120" y="136"/>
                  </a:lnTo>
                  <a:lnTo>
                    <a:pt x="112" y="136"/>
                  </a:lnTo>
                  <a:lnTo>
                    <a:pt x="120" y="120"/>
                  </a:lnTo>
                  <a:lnTo>
                    <a:pt x="112" y="104"/>
                  </a:lnTo>
                  <a:lnTo>
                    <a:pt x="88" y="88"/>
                  </a:lnTo>
                  <a:lnTo>
                    <a:pt x="72" y="80"/>
                  </a:lnTo>
                  <a:lnTo>
                    <a:pt x="64" y="72"/>
                  </a:lnTo>
                  <a:lnTo>
                    <a:pt x="56" y="72"/>
                  </a:lnTo>
                  <a:lnTo>
                    <a:pt x="40" y="48"/>
                  </a:lnTo>
                  <a:lnTo>
                    <a:pt x="24" y="40"/>
                  </a:lnTo>
                  <a:lnTo>
                    <a:pt x="16" y="48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106">
              <a:extLst>
                <a:ext uri="{FF2B5EF4-FFF2-40B4-BE49-F238E27FC236}">
                  <a16:creationId xmlns:a16="http://schemas.microsoft.com/office/drawing/2014/main" id="{52CEB349-F200-4B8B-8402-AD0F0CBF768B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6936628" y="2633680"/>
              <a:ext cx="218264" cy="115360"/>
            </a:xfrm>
            <a:custGeom>
              <a:avLst/>
              <a:gdLst>
                <a:gd name="T0" fmla="*/ 121127 w 80"/>
                <a:gd name="T1" fmla="*/ 0 h 48"/>
                <a:gd name="T2" fmla="*/ 86519 w 80"/>
                <a:gd name="T3" fmla="*/ 14817 h 48"/>
                <a:gd name="T4" fmla="*/ 34608 w 80"/>
                <a:gd name="T5" fmla="*/ 14817 h 48"/>
                <a:gd name="T6" fmla="*/ 17304 w 80"/>
                <a:gd name="T7" fmla="*/ 0 h 48"/>
                <a:gd name="T8" fmla="*/ 0 w 80"/>
                <a:gd name="T9" fmla="*/ 14817 h 48"/>
                <a:gd name="T10" fmla="*/ 0 w 80"/>
                <a:gd name="T11" fmla="*/ 44450 h 48"/>
                <a:gd name="T12" fmla="*/ 0 w 80"/>
                <a:gd name="T13" fmla="*/ 59267 h 48"/>
                <a:gd name="T14" fmla="*/ 17304 w 80"/>
                <a:gd name="T15" fmla="*/ 88900 h 48"/>
                <a:gd name="T16" fmla="*/ 51911 w 80"/>
                <a:gd name="T17" fmla="*/ 74083 h 48"/>
                <a:gd name="T18" fmla="*/ 86519 w 80"/>
                <a:gd name="T19" fmla="*/ 88900 h 48"/>
                <a:gd name="T20" fmla="*/ 103823 w 80"/>
                <a:gd name="T21" fmla="*/ 74083 h 48"/>
                <a:gd name="T22" fmla="*/ 155734 w 80"/>
                <a:gd name="T23" fmla="*/ 74083 h 48"/>
                <a:gd name="T24" fmla="*/ 138430 w 80"/>
                <a:gd name="T25" fmla="*/ 44450 h 48"/>
                <a:gd name="T26" fmla="*/ 155734 w 80"/>
                <a:gd name="T27" fmla="*/ 29633 h 48"/>
                <a:gd name="T28" fmla="*/ 173038 w 80"/>
                <a:gd name="T29" fmla="*/ 14817 h 48"/>
                <a:gd name="T30" fmla="*/ 121127 w 80"/>
                <a:gd name="T31" fmla="*/ 0 h 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0"/>
                <a:gd name="T49" fmla="*/ 0 h 48"/>
                <a:gd name="T50" fmla="*/ 80 w 80"/>
                <a:gd name="T51" fmla="*/ 48 h 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0" h="48">
                  <a:moveTo>
                    <a:pt x="56" y="0"/>
                  </a:moveTo>
                  <a:lnTo>
                    <a:pt x="40" y="8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8" y="48"/>
                  </a:lnTo>
                  <a:lnTo>
                    <a:pt x="24" y="40"/>
                  </a:lnTo>
                  <a:lnTo>
                    <a:pt x="40" y="48"/>
                  </a:lnTo>
                  <a:lnTo>
                    <a:pt x="48" y="40"/>
                  </a:lnTo>
                  <a:lnTo>
                    <a:pt x="72" y="40"/>
                  </a:lnTo>
                  <a:lnTo>
                    <a:pt x="64" y="24"/>
                  </a:lnTo>
                  <a:lnTo>
                    <a:pt x="72" y="16"/>
                  </a:lnTo>
                  <a:lnTo>
                    <a:pt x="80" y="8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Freeform 107">
              <a:extLst>
                <a:ext uri="{FF2B5EF4-FFF2-40B4-BE49-F238E27FC236}">
                  <a16:creationId xmlns:a16="http://schemas.microsoft.com/office/drawing/2014/main" id="{01E2DA8E-446F-4144-A0A2-37BBF8BBBC15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6872551" y="2728440"/>
              <a:ext cx="196237" cy="154501"/>
            </a:xfrm>
            <a:custGeom>
              <a:avLst/>
              <a:gdLst>
                <a:gd name="T0" fmla="*/ 155575 w 72"/>
                <a:gd name="T1" fmla="*/ 0 h 64"/>
                <a:gd name="T2" fmla="*/ 138289 w 72"/>
                <a:gd name="T3" fmla="*/ 14883 h 64"/>
                <a:gd name="T4" fmla="*/ 103717 w 72"/>
                <a:gd name="T5" fmla="*/ 0 h 64"/>
                <a:gd name="T6" fmla="*/ 69144 w 72"/>
                <a:gd name="T7" fmla="*/ 14883 h 64"/>
                <a:gd name="T8" fmla="*/ 17286 w 72"/>
                <a:gd name="T9" fmla="*/ 29766 h 64"/>
                <a:gd name="T10" fmla="*/ 0 w 72"/>
                <a:gd name="T11" fmla="*/ 59532 h 64"/>
                <a:gd name="T12" fmla="*/ 34572 w 72"/>
                <a:gd name="T13" fmla="*/ 89297 h 64"/>
                <a:gd name="T14" fmla="*/ 69144 w 72"/>
                <a:gd name="T15" fmla="*/ 89297 h 64"/>
                <a:gd name="T16" fmla="*/ 103717 w 72"/>
                <a:gd name="T17" fmla="*/ 119063 h 64"/>
                <a:gd name="T18" fmla="*/ 103717 w 72"/>
                <a:gd name="T19" fmla="*/ 104180 h 64"/>
                <a:gd name="T20" fmla="*/ 121003 w 72"/>
                <a:gd name="T21" fmla="*/ 104180 h 64"/>
                <a:gd name="T22" fmla="*/ 86431 w 72"/>
                <a:gd name="T23" fmla="*/ 74414 h 64"/>
                <a:gd name="T24" fmla="*/ 69144 w 72"/>
                <a:gd name="T25" fmla="*/ 44649 h 64"/>
                <a:gd name="T26" fmla="*/ 69144 w 72"/>
                <a:gd name="T27" fmla="*/ 29766 h 64"/>
                <a:gd name="T28" fmla="*/ 86431 w 72"/>
                <a:gd name="T29" fmla="*/ 44649 h 64"/>
                <a:gd name="T30" fmla="*/ 86431 w 72"/>
                <a:gd name="T31" fmla="*/ 29766 h 64"/>
                <a:gd name="T32" fmla="*/ 103717 w 72"/>
                <a:gd name="T33" fmla="*/ 14883 h 64"/>
                <a:gd name="T34" fmla="*/ 138289 w 72"/>
                <a:gd name="T35" fmla="*/ 29766 h 64"/>
                <a:gd name="T36" fmla="*/ 155575 w 72"/>
                <a:gd name="T37" fmla="*/ 29766 h 64"/>
                <a:gd name="T38" fmla="*/ 155575 w 72"/>
                <a:gd name="T39" fmla="*/ 0 h 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2"/>
                <a:gd name="T61" fmla="*/ 0 h 64"/>
                <a:gd name="T62" fmla="*/ 72 w 72"/>
                <a:gd name="T63" fmla="*/ 64 h 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2" h="64">
                  <a:moveTo>
                    <a:pt x="72" y="0"/>
                  </a:moveTo>
                  <a:lnTo>
                    <a:pt x="64" y="8"/>
                  </a:lnTo>
                  <a:lnTo>
                    <a:pt x="48" y="0"/>
                  </a:lnTo>
                  <a:lnTo>
                    <a:pt x="32" y="8"/>
                  </a:lnTo>
                  <a:lnTo>
                    <a:pt x="8" y="16"/>
                  </a:lnTo>
                  <a:lnTo>
                    <a:pt x="0" y="32"/>
                  </a:lnTo>
                  <a:lnTo>
                    <a:pt x="16" y="48"/>
                  </a:lnTo>
                  <a:lnTo>
                    <a:pt x="32" y="48"/>
                  </a:lnTo>
                  <a:lnTo>
                    <a:pt x="48" y="64"/>
                  </a:lnTo>
                  <a:lnTo>
                    <a:pt x="48" y="56"/>
                  </a:lnTo>
                  <a:lnTo>
                    <a:pt x="56" y="56"/>
                  </a:lnTo>
                  <a:lnTo>
                    <a:pt x="40" y="40"/>
                  </a:lnTo>
                  <a:lnTo>
                    <a:pt x="32" y="24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8" y="8"/>
                  </a:lnTo>
                  <a:lnTo>
                    <a:pt x="64" y="16"/>
                  </a:lnTo>
                  <a:lnTo>
                    <a:pt x="72" y="16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1" name="Freeform 108">
              <a:extLst>
                <a:ext uri="{FF2B5EF4-FFF2-40B4-BE49-F238E27FC236}">
                  <a16:creationId xmlns:a16="http://schemas.microsoft.com/office/drawing/2014/main" id="{B691946E-F194-47B7-B4B6-E5CBD2B7D93B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6850524" y="2499779"/>
              <a:ext cx="326395" cy="152441"/>
            </a:xfrm>
            <a:custGeom>
              <a:avLst/>
              <a:gdLst>
                <a:gd name="T0" fmla="*/ 224261 w 120"/>
                <a:gd name="T1" fmla="*/ 73422 h 64"/>
                <a:gd name="T2" fmla="*/ 258763 w 120"/>
                <a:gd name="T3" fmla="*/ 73422 h 64"/>
                <a:gd name="T4" fmla="*/ 258763 w 120"/>
                <a:gd name="T5" fmla="*/ 88106 h 64"/>
                <a:gd name="T6" fmla="*/ 224261 w 120"/>
                <a:gd name="T7" fmla="*/ 102791 h 64"/>
                <a:gd name="T8" fmla="*/ 241512 w 120"/>
                <a:gd name="T9" fmla="*/ 117475 h 64"/>
                <a:gd name="T10" fmla="*/ 189760 w 120"/>
                <a:gd name="T11" fmla="*/ 102791 h 64"/>
                <a:gd name="T12" fmla="*/ 155258 w 120"/>
                <a:gd name="T13" fmla="*/ 117475 h 64"/>
                <a:gd name="T14" fmla="*/ 103505 w 120"/>
                <a:gd name="T15" fmla="*/ 117475 h 64"/>
                <a:gd name="T16" fmla="*/ 86254 w 120"/>
                <a:gd name="T17" fmla="*/ 102791 h 64"/>
                <a:gd name="T18" fmla="*/ 69003 w 120"/>
                <a:gd name="T19" fmla="*/ 88106 h 64"/>
                <a:gd name="T20" fmla="*/ 51753 w 120"/>
                <a:gd name="T21" fmla="*/ 88106 h 64"/>
                <a:gd name="T22" fmla="*/ 0 w 120"/>
                <a:gd name="T23" fmla="*/ 58738 h 64"/>
                <a:gd name="T24" fmla="*/ 17251 w 120"/>
                <a:gd name="T25" fmla="*/ 58738 h 64"/>
                <a:gd name="T26" fmla="*/ 34502 w 120"/>
                <a:gd name="T27" fmla="*/ 44053 h 64"/>
                <a:gd name="T28" fmla="*/ 51753 w 120"/>
                <a:gd name="T29" fmla="*/ 14684 h 64"/>
                <a:gd name="T30" fmla="*/ 69003 w 120"/>
                <a:gd name="T31" fmla="*/ 0 h 64"/>
                <a:gd name="T32" fmla="*/ 120756 w 120"/>
                <a:gd name="T33" fmla="*/ 14684 h 64"/>
                <a:gd name="T34" fmla="*/ 172509 w 120"/>
                <a:gd name="T35" fmla="*/ 0 h 64"/>
                <a:gd name="T36" fmla="*/ 207010 w 120"/>
                <a:gd name="T37" fmla="*/ 29369 h 64"/>
                <a:gd name="T38" fmla="*/ 224261 w 120"/>
                <a:gd name="T39" fmla="*/ 73422 h 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20"/>
                <a:gd name="T61" fmla="*/ 0 h 64"/>
                <a:gd name="T62" fmla="*/ 120 w 120"/>
                <a:gd name="T63" fmla="*/ 64 h 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20" h="64">
                  <a:moveTo>
                    <a:pt x="104" y="40"/>
                  </a:moveTo>
                  <a:lnTo>
                    <a:pt x="120" y="40"/>
                  </a:lnTo>
                  <a:lnTo>
                    <a:pt x="120" y="48"/>
                  </a:lnTo>
                  <a:lnTo>
                    <a:pt x="104" y="56"/>
                  </a:lnTo>
                  <a:lnTo>
                    <a:pt x="112" y="64"/>
                  </a:lnTo>
                  <a:lnTo>
                    <a:pt x="88" y="56"/>
                  </a:lnTo>
                  <a:lnTo>
                    <a:pt x="72" y="64"/>
                  </a:lnTo>
                  <a:lnTo>
                    <a:pt x="48" y="64"/>
                  </a:lnTo>
                  <a:lnTo>
                    <a:pt x="40" y="56"/>
                  </a:lnTo>
                  <a:lnTo>
                    <a:pt x="32" y="48"/>
                  </a:lnTo>
                  <a:lnTo>
                    <a:pt x="24" y="48"/>
                  </a:lnTo>
                  <a:lnTo>
                    <a:pt x="0" y="32"/>
                  </a:lnTo>
                  <a:lnTo>
                    <a:pt x="8" y="32"/>
                  </a:lnTo>
                  <a:lnTo>
                    <a:pt x="16" y="24"/>
                  </a:lnTo>
                  <a:lnTo>
                    <a:pt x="24" y="8"/>
                  </a:lnTo>
                  <a:lnTo>
                    <a:pt x="32" y="0"/>
                  </a:lnTo>
                  <a:lnTo>
                    <a:pt x="56" y="8"/>
                  </a:lnTo>
                  <a:lnTo>
                    <a:pt x="80" y="0"/>
                  </a:lnTo>
                  <a:lnTo>
                    <a:pt x="96" y="16"/>
                  </a:lnTo>
                  <a:lnTo>
                    <a:pt x="104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Freeform 109">
              <a:extLst>
                <a:ext uri="{FF2B5EF4-FFF2-40B4-BE49-F238E27FC236}">
                  <a16:creationId xmlns:a16="http://schemas.microsoft.com/office/drawing/2014/main" id="{E668A23B-36CB-4D0E-A777-787D1F7314AC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6654286" y="2536859"/>
              <a:ext cx="86105" cy="57680"/>
            </a:xfrm>
            <a:custGeom>
              <a:avLst/>
              <a:gdLst>
                <a:gd name="T0" fmla="*/ 0 w 32"/>
                <a:gd name="T1" fmla="*/ 44450 h 24"/>
                <a:gd name="T2" fmla="*/ 0 w 32"/>
                <a:gd name="T3" fmla="*/ 29633 h 24"/>
                <a:gd name="T4" fmla="*/ 0 w 32"/>
                <a:gd name="T5" fmla="*/ 14817 h 24"/>
                <a:gd name="T6" fmla="*/ 51197 w 32"/>
                <a:gd name="T7" fmla="*/ 0 h 24"/>
                <a:gd name="T8" fmla="*/ 68263 w 32"/>
                <a:gd name="T9" fmla="*/ 14817 h 24"/>
                <a:gd name="T10" fmla="*/ 34132 w 32"/>
                <a:gd name="T11" fmla="*/ 29633 h 24"/>
                <a:gd name="T12" fmla="*/ 34132 w 32"/>
                <a:gd name="T13" fmla="*/ 44450 h 24"/>
                <a:gd name="T14" fmla="*/ 17066 w 32"/>
                <a:gd name="T15" fmla="*/ 29633 h 24"/>
                <a:gd name="T16" fmla="*/ 0 w 32"/>
                <a:gd name="T17" fmla="*/ 4445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24"/>
                <a:gd name="T29" fmla="*/ 32 w 32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24">
                  <a:moveTo>
                    <a:pt x="0" y="24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24" y="0"/>
                  </a:lnTo>
                  <a:lnTo>
                    <a:pt x="32" y="8"/>
                  </a:lnTo>
                  <a:lnTo>
                    <a:pt x="16" y="16"/>
                  </a:lnTo>
                  <a:lnTo>
                    <a:pt x="16" y="24"/>
                  </a:lnTo>
                  <a:lnTo>
                    <a:pt x="8" y="16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Freeform 110">
              <a:extLst>
                <a:ext uri="{FF2B5EF4-FFF2-40B4-BE49-F238E27FC236}">
                  <a16:creationId xmlns:a16="http://schemas.microsoft.com/office/drawing/2014/main" id="{421974A4-116B-4F2F-A2AB-BCA61BDF9F65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6654286" y="2557459"/>
              <a:ext cx="174211" cy="133901"/>
            </a:xfrm>
            <a:custGeom>
              <a:avLst/>
              <a:gdLst>
                <a:gd name="T0" fmla="*/ 120849 w 64"/>
                <a:gd name="T1" fmla="*/ 14741 h 56"/>
                <a:gd name="T2" fmla="*/ 103585 w 64"/>
                <a:gd name="T3" fmla="*/ 14741 h 56"/>
                <a:gd name="T4" fmla="*/ 69057 w 64"/>
                <a:gd name="T5" fmla="*/ 0 h 56"/>
                <a:gd name="T6" fmla="*/ 34528 w 64"/>
                <a:gd name="T7" fmla="*/ 14741 h 56"/>
                <a:gd name="T8" fmla="*/ 34528 w 64"/>
                <a:gd name="T9" fmla="*/ 29482 h 56"/>
                <a:gd name="T10" fmla="*/ 17264 w 64"/>
                <a:gd name="T11" fmla="*/ 14741 h 56"/>
                <a:gd name="T12" fmla="*/ 0 w 64"/>
                <a:gd name="T13" fmla="*/ 29482 h 56"/>
                <a:gd name="T14" fmla="*/ 0 w 64"/>
                <a:gd name="T15" fmla="*/ 44223 h 56"/>
                <a:gd name="T16" fmla="*/ 17264 w 64"/>
                <a:gd name="T17" fmla="*/ 29482 h 56"/>
                <a:gd name="T18" fmla="*/ 34528 w 64"/>
                <a:gd name="T19" fmla="*/ 44223 h 56"/>
                <a:gd name="T20" fmla="*/ 34528 w 64"/>
                <a:gd name="T21" fmla="*/ 73706 h 56"/>
                <a:gd name="T22" fmla="*/ 120849 w 64"/>
                <a:gd name="T23" fmla="*/ 103188 h 56"/>
                <a:gd name="T24" fmla="*/ 69057 w 64"/>
                <a:gd name="T25" fmla="*/ 58965 h 56"/>
                <a:gd name="T26" fmla="*/ 51792 w 64"/>
                <a:gd name="T27" fmla="*/ 44223 h 56"/>
                <a:gd name="T28" fmla="*/ 69057 w 64"/>
                <a:gd name="T29" fmla="*/ 29482 h 56"/>
                <a:gd name="T30" fmla="*/ 120849 w 64"/>
                <a:gd name="T31" fmla="*/ 44223 h 56"/>
                <a:gd name="T32" fmla="*/ 138113 w 64"/>
                <a:gd name="T33" fmla="*/ 44223 h 56"/>
                <a:gd name="T34" fmla="*/ 138113 w 64"/>
                <a:gd name="T35" fmla="*/ 29482 h 56"/>
                <a:gd name="T36" fmla="*/ 120849 w 64"/>
                <a:gd name="T37" fmla="*/ 14741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4"/>
                <a:gd name="T58" fmla="*/ 0 h 56"/>
                <a:gd name="T59" fmla="*/ 64 w 64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4" h="56">
                  <a:moveTo>
                    <a:pt x="56" y="8"/>
                  </a:moveTo>
                  <a:lnTo>
                    <a:pt x="48" y="8"/>
                  </a:lnTo>
                  <a:lnTo>
                    <a:pt x="32" y="0"/>
                  </a:lnTo>
                  <a:lnTo>
                    <a:pt x="16" y="8"/>
                  </a:lnTo>
                  <a:lnTo>
                    <a:pt x="16" y="16"/>
                  </a:lnTo>
                  <a:lnTo>
                    <a:pt x="8" y="8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24"/>
                  </a:lnTo>
                  <a:lnTo>
                    <a:pt x="16" y="40"/>
                  </a:lnTo>
                  <a:lnTo>
                    <a:pt x="56" y="56"/>
                  </a:lnTo>
                  <a:lnTo>
                    <a:pt x="32" y="32"/>
                  </a:lnTo>
                  <a:lnTo>
                    <a:pt x="24" y="24"/>
                  </a:lnTo>
                  <a:lnTo>
                    <a:pt x="32" y="16"/>
                  </a:lnTo>
                  <a:lnTo>
                    <a:pt x="56" y="24"/>
                  </a:lnTo>
                  <a:lnTo>
                    <a:pt x="64" y="24"/>
                  </a:lnTo>
                  <a:lnTo>
                    <a:pt x="64" y="16"/>
                  </a:lnTo>
                  <a:lnTo>
                    <a:pt x="56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Freeform 111">
              <a:extLst>
                <a:ext uri="{FF2B5EF4-FFF2-40B4-BE49-F238E27FC236}">
                  <a16:creationId xmlns:a16="http://schemas.microsoft.com/office/drawing/2014/main" id="{E31934CB-BAAB-4398-8FB7-FDF72DA7A754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718364" y="2594539"/>
              <a:ext cx="132160" cy="96821"/>
            </a:xfrm>
            <a:custGeom>
              <a:avLst/>
              <a:gdLst>
                <a:gd name="T0" fmla="*/ 87313 w 48"/>
                <a:gd name="T1" fmla="*/ 14923 h 40"/>
                <a:gd name="T2" fmla="*/ 87313 w 48"/>
                <a:gd name="T3" fmla="*/ 29845 h 40"/>
                <a:gd name="T4" fmla="*/ 104775 w 48"/>
                <a:gd name="T5" fmla="*/ 44768 h 40"/>
                <a:gd name="T6" fmla="*/ 87313 w 48"/>
                <a:gd name="T7" fmla="*/ 44768 h 40"/>
                <a:gd name="T8" fmla="*/ 69850 w 48"/>
                <a:gd name="T9" fmla="*/ 59690 h 40"/>
                <a:gd name="T10" fmla="*/ 69850 w 48"/>
                <a:gd name="T11" fmla="*/ 74613 h 40"/>
                <a:gd name="T12" fmla="*/ 17463 w 48"/>
                <a:gd name="T13" fmla="*/ 29845 h 40"/>
                <a:gd name="T14" fmla="*/ 0 w 48"/>
                <a:gd name="T15" fmla="*/ 14923 h 40"/>
                <a:gd name="T16" fmla="*/ 17463 w 48"/>
                <a:gd name="T17" fmla="*/ 0 h 40"/>
                <a:gd name="T18" fmla="*/ 69850 w 48"/>
                <a:gd name="T19" fmla="*/ 14923 h 40"/>
                <a:gd name="T20" fmla="*/ 87313 w 48"/>
                <a:gd name="T21" fmla="*/ 14923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40"/>
                <a:gd name="T35" fmla="*/ 48 w 48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40">
                  <a:moveTo>
                    <a:pt x="40" y="8"/>
                  </a:moveTo>
                  <a:lnTo>
                    <a:pt x="40" y="16"/>
                  </a:lnTo>
                  <a:lnTo>
                    <a:pt x="48" y="24"/>
                  </a:lnTo>
                  <a:lnTo>
                    <a:pt x="40" y="24"/>
                  </a:lnTo>
                  <a:lnTo>
                    <a:pt x="32" y="32"/>
                  </a:lnTo>
                  <a:lnTo>
                    <a:pt x="32" y="40"/>
                  </a:lnTo>
                  <a:lnTo>
                    <a:pt x="8" y="16"/>
                  </a:lnTo>
                  <a:lnTo>
                    <a:pt x="0" y="8"/>
                  </a:lnTo>
                  <a:lnTo>
                    <a:pt x="8" y="0"/>
                  </a:lnTo>
                  <a:lnTo>
                    <a:pt x="32" y="8"/>
                  </a:lnTo>
                  <a:lnTo>
                    <a:pt x="4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Freeform 112">
              <a:extLst>
                <a:ext uri="{FF2B5EF4-FFF2-40B4-BE49-F238E27FC236}">
                  <a16:creationId xmlns:a16="http://schemas.microsoft.com/office/drawing/2014/main" id="{8FC831FB-70B5-43E0-9FEB-5042C0C16008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806470" y="2652219"/>
              <a:ext cx="66081" cy="76221"/>
            </a:xfrm>
            <a:custGeom>
              <a:avLst/>
              <a:gdLst>
                <a:gd name="T0" fmla="*/ 0 w 24"/>
                <a:gd name="T1" fmla="*/ 29369 h 32"/>
                <a:gd name="T2" fmla="*/ 34925 w 24"/>
                <a:gd name="T3" fmla="*/ 58738 h 32"/>
                <a:gd name="T4" fmla="*/ 34925 w 24"/>
                <a:gd name="T5" fmla="*/ 29369 h 32"/>
                <a:gd name="T6" fmla="*/ 52388 w 24"/>
                <a:gd name="T7" fmla="*/ 29369 h 32"/>
                <a:gd name="T8" fmla="*/ 17463 w 24"/>
                <a:gd name="T9" fmla="*/ 0 h 32"/>
                <a:gd name="T10" fmla="*/ 0 w 24"/>
                <a:gd name="T11" fmla="*/ 14685 h 32"/>
                <a:gd name="T12" fmla="*/ 0 w 24"/>
                <a:gd name="T13" fmla="*/ 29369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32"/>
                <a:gd name="T23" fmla="*/ 24 w 2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32">
                  <a:moveTo>
                    <a:pt x="0" y="16"/>
                  </a:moveTo>
                  <a:lnTo>
                    <a:pt x="16" y="32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Freeform 113">
              <a:extLst>
                <a:ext uri="{FF2B5EF4-FFF2-40B4-BE49-F238E27FC236}">
                  <a16:creationId xmlns:a16="http://schemas.microsoft.com/office/drawing/2014/main" id="{E85D82A3-B81A-4F65-A24A-46DA2034AEC0}"/>
                </a:ext>
              </a:extLst>
            </p:cNvPr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6806470" y="2576000"/>
              <a:ext cx="152184" cy="152441"/>
            </a:xfrm>
            <a:custGeom>
              <a:avLst/>
              <a:gdLst>
                <a:gd name="T0" fmla="*/ 51707 w 56"/>
                <a:gd name="T1" fmla="*/ 117475 h 64"/>
                <a:gd name="T2" fmla="*/ 51707 w 56"/>
                <a:gd name="T3" fmla="*/ 88106 h 64"/>
                <a:gd name="T4" fmla="*/ 34471 w 56"/>
                <a:gd name="T5" fmla="*/ 88106 h 64"/>
                <a:gd name="T6" fmla="*/ 51707 w 56"/>
                <a:gd name="T7" fmla="*/ 88106 h 64"/>
                <a:gd name="T8" fmla="*/ 17236 w 56"/>
                <a:gd name="T9" fmla="*/ 58738 h 64"/>
                <a:gd name="T10" fmla="*/ 34471 w 56"/>
                <a:gd name="T11" fmla="*/ 58738 h 64"/>
                <a:gd name="T12" fmla="*/ 17236 w 56"/>
                <a:gd name="T13" fmla="*/ 44053 h 64"/>
                <a:gd name="T14" fmla="*/ 17236 w 56"/>
                <a:gd name="T15" fmla="*/ 29369 h 64"/>
                <a:gd name="T16" fmla="*/ 17236 w 56"/>
                <a:gd name="T17" fmla="*/ 14684 h 64"/>
                <a:gd name="T18" fmla="*/ 0 w 56"/>
                <a:gd name="T19" fmla="*/ 0 h 64"/>
                <a:gd name="T20" fmla="*/ 34471 w 56"/>
                <a:gd name="T21" fmla="*/ 0 h 64"/>
                <a:gd name="T22" fmla="*/ 86179 w 56"/>
                <a:gd name="T23" fmla="*/ 29369 h 64"/>
                <a:gd name="T24" fmla="*/ 103414 w 56"/>
                <a:gd name="T25" fmla="*/ 29369 h 64"/>
                <a:gd name="T26" fmla="*/ 120650 w 56"/>
                <a:gd name="T27" fmla="*/ 44053 h 64"/>
                <a:gd name="T28" fmla="*/ 103414 w 56"/>
                <a:gd name="T29" fmla="*/ 58738 h 64"/>
                <a:gd name="T30" fmla="*/ 103414 w 56"/>
                <a:gd name="T31" fmla="*/ 88106 h 64"/>
                <a:gd name="T32" fmla="*/ 103414 w 56"/>
                <a:gd name="T33" fmla="*/ 102791 h 64"/>
                <a:gd name="T34" fmla="*/ 86179 w 56"/>
                <a:gd name="T35" fmla="*/ 102791 h 64"/>
                <a:gd name="T36" fmla="*/ 51707 w 56"/>
                <a:gd name="T37" fmla="*/ 117475 h 6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6"/>
                <a:gd name="T58" fmla="*/ 0 h 64"/>
                <a:gd name="T59" fmla="*/ 56 w 56"/>
                <a:gd name="T60" fmla="*/ 64 h 6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6" h="64">
                  <a:moveTo>
                    <a:pt x="24" y="64"/>
                  </a:moveTo>
                  <a:lnTo>
                    <a:pt x="24" y="48"/>
                  </a:lnTo>
                  <a:lnTo>
                    <a:pt x="16" y="48"/>
                  </a:lnTo>
                  <a:lnTo>
                    <a:pt x="24" y="48"/>
                  </a:lnTo>
                  <a:lnTo>
                    <a:pt x="8" y="32"/>
                  </a:lnTo>
                  <a:lnTo>
                    <a:pt x="16" y="32"/>
                  </a:lnTo>
                  <a:lnTo>
                    <a:pt x="8" y="24"/>
                  </a:lnTo>
                  <a:lnTo>
                    <a:pt x="8" y="16"/>
                  </a:lnTo>
                  <a:lnTo>
                    <a:pt x="8" y="8"/>
                  </a:lnTo>
                  <a:lnTo>
                    <a:pt x="0" y="0"/>
                  </a:lnTo>
                  <a:lnTo>
                    <a:pt x="16" y="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24"/>
                  </a:lnTo>
                  <a:lnTo>
                    <a:pt x="48" y="32"/>
                  </a:lnTo>
                  <a:lnTo>
                    <a:pt x="48" y="48"/>
                  </a:lnTo>
                  <a:lnTo>
                    <a:pt x="48" y="56"/>
                  </a:lnTo>
                  <a:lnTo>
                    <a:pt x="40" y="56"/>
                  </a:lnTo>
                  <a:lnTo>
                    <a:pt x="24" y="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7" name="Freeform 114">
              <a:extLst>
                <a:ext uri="{FF2B5EF4-FFF2-40B4-BE49-F238E27FC236}">
                  <a16:creationId xmlns:a16="http://schemas.microsoft.com/office/drawing/2014/main" id="{5DD67032-1EDD-4C8F-A03D-0AE47598D5DA}"/>
                </a:ext>
              </a:extLst>
            </p:cNvPr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6872551" y="2709899"/>
              <a:ext cx="86105" cy="57680"/>
            </a:xfrm>
            <a:custGeom>
              <a:avLst/>
              <a:gdLst>
                <a:gd name="T0" fmla="*/ 68263 w 32"/>
                <a:gd name="T1" fmla="*/ 29633 h 24"/>
                <a:gd name="T2" fmla="*/ 51197 w 32"/>
                <a:gd name="T3" fmla="*/ 0 h 24"/>
                <a:gd name="T4" fmla="*/ 34132 w 32"/>
                <a:gd name="T5" fmla="*/ 0 h 24"/>
                <a:gd name="T6" fmla="*/ 0 w 32"/>
                <a:gd name="T7" fmla="*/ 14817 h 24"/>
                <a:gd name="T8" fmla="*/ 17066 w 32"/>
                <a:gd name="T9" fmla="*/ 44450 h 24"/>
                <a:gd name="T10" fmla="*/ 68263 w 32"/>
                <a:gd name="T11" fmla="*/ 29633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24"/>
                <a:gd name="T20" fmla="*/ 32 w 32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24">
                  <a:moveTo>
                    <a:pt x="32" y="16"/>
                  </a:moveTo>
                  <a:lnTo>
                    <a:pt x="24" y="0"/>
                  </a:lnTo>
                  <a:lnTo>
                    <a:pt x="16" y="0"/>
                  </a:lnTo>
                  <a:lnTo>
                    <a:pt x="0" y="8"/>
                  </a:lnTo>
                  <a:lnTo>
                    <a:pt x="8" y="24"/>
                  </a:lnTo>
                  <a:lnTo>
                    <a:pt x="32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Freeform 115">
              <a:extLst>
                <a:ext uri="{FF2B5EF4-FFF2-40B4-BE49-F238E27FC236}">
                  <a16:creationId xmlns:a16="http://schemas.microsoft.com/office/drawing/2014/main" id="{5FF1479A-6493-4E37-99A5-4A2C8076CAC0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6654286" y="2269058"/>
              <a:ext cx="326395" cy="191581"/>
            </a:xfrm>
            <a:custGeom>
              <a:avLst/>
              <a:gdLst>
                <a:gd name="T0" fmla="*/ 241512 w 120"/>
                <a:gd name="T1" fmla="*/ 88583 h 80"/>
                <a:gd name="T2" fmla="*/ 224261 w 120"/>
                <a:gd name="T3" fmla="*/ 73819 h 80"/>
                <a:gd name="T4" fmla="*/ 241512 w 120"/>
                <a:gd name="T5" fmla="*/ 44291 h 80"/>
                <a:gd name="T6" fmla="*/ 224261 w 120"/>
                <a:gd name="T7" fmla="*/ 14764 h 80"/>
                <a:gd name="T8" fmla="*/ 207010 w 120"/>
                <a:gd name="T9" fmla="*/ 14764 h 80"/>
                <a:gd name="T10" fmla="*/ 138007 w 120"/>
                <a:gd name="T11" fmla="*/ 0 h 80"/>
                <a:gd name="T12" fmla="*/ 120756 w 120"/>
                <a:gd name="T13" fmla="*/ 14764 h 80"/>
                <a:gd name="T14" fmla="*/ 103505 w 120"/>
                <a:gd name="T15" fmla="*/ 0 h 80"/>
                <a:gd name="T16" fmla="*/ 0 w 120"/>
                <a:gd name="T17" fmla="*/ 29528 h 80"/>
                <a:gd name="T18" fmla="*/ 17251 w 120"/>
                <a:gd name="T19" fmla="*/ 103347 h 80"/>
                <a:gd name="T20" fmla="*/ 51753 w 120"/>
                <a:gd name="T21" fmla="*/ 103347 h 80"/>
                <a:gd name="T22" fmla="*/ 69003 w 120"/>
                <a:gd name="T23" fmla="*/ 118110 h 80"/>
                <a:gd name="T24" fmla="*/ 103505 w 120"/>
                <a:gd name="T25" fmla="*/ 132874 h 80"/>
                <a:gd name="T26" fmla="*/ 155258 w 120"/>
                <a:gd name="T27" fmla="*/ 147638 h 80"/>
                <a:gd name="T28" fmla="*/ 189760 w 120"/>
                <a:gd name="T29" fmla="*/ 147638 h 80"/>
                <a:gd name="T30" fmla="*/ 207010 w 120"/>
                <a:gd name="T31" fmla="*/ 147638 h 80"/>
                <a:gd name="T32" fmla="*/ 258763 w 120"/>
                <a:gd name="T33" fmla="*/ 118110 h 80"/>
                <a:gd name="T34" fmla="*/ 241512 w 120"/>
                <a:gd name="T35" fmla="*/ 88583 h 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0"/>
                <a:gd name="T55" fmla="*/ 0 h 80"/>
                <a:gd name="T56" fmla="*/ 120 w 120"/>
                <a:gd name="T57" fmla="*/ 80 h 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0" h="80">
                  <a:moveTo>
                    <a:pt x="112" y="48"/>
                  </a:moveTo>
                  <a:lnTo>
                    <a:pt x="104" y="40"/>
                  </a:lnTo>
                  <a:lnTo>
                    <a:pt x="112" y="24"/>
                  </a:lnTo>
                  <a:lnTo>
                    <a:pt x="104" y="8"/>
                  </a:lnTo>
                  <a:lnTo>
                    <a:pt x="96" y="8"/>
                  </a:lnTo>
                  <a:lnTo>
                    <a:pt x="64" y="0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0" y="16"/>
                  </a:lnTo>
                  <a:lnTo>
                    <a:pt x="8" y="56"/>
                  </a:lnTo>
                  <a:lnTo>
                    <a:pt x="24" y="56"/>
                  </a:lnTo>
                  <a:lnTo>
                    <a:pt x="32" y="64"/>
                  </a:lnTo>
                  <a:lnTo>
                    <a:pt x="48" y="72"/>
                  </a:lnTo>
                  <a:lnTo>
                    <a:pt x="72" y="80"/>
                  </a:lnTo>
                  <a:lnTo>
                    <a:pt x="88" y="80"/>
                  </a:lnTo>
                  <a:lnTo>
                    <a:pt x="96" y="80"/>
                  </a:lnTo>
                  <a:lnTo>
                    <a:pt x="120" y="64"/>
                  </a:lnTo>
                  <a:lnTo>
                    <a:pt x="112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Freeform 116">
              <a:extLst>
                <a:ext uri="{FF2B5EF4-FFF2-40B4-BE49-F238E27FC236}">
                  <a16:creationId xmlns:a16="http://schemas.microsoft.com/office/drawing/2014/main" id="{684D6651-63D0-4BC4-B5A0-0937D1E1B19D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6413996" y="2269058"/>
              <a:ext cx="262318" cy="249261"/>
            </a:xfrm>
            <a:custGeom>
              <a:avLst/>
              <a:gdLst>
                <a:gd name="T0" fmla="*/ 121312 w 96"/>
                <a:gd name="T1" fmla="*/ 14776 h 104"/>
                <a:gd name="T2" fmla="*/ 86651 w 96"/>
                <a:gd name="T3" fmla="*/ 0 h 104"/>
                <a:gd name="T4" fmla="*/ 69321 w 96"/>
                <a:gd name="T5" fmla="*/ 0 h 104"/>
                <a:gd name="T6" fmla="*/ 51991 w 96"/>
                <a:gd name="T7" fmla="*/ 29552 h 104"/>
                <a:gd name="T8" fmla="*/ 34661 w 96"/>
                <a:gd name="T9" fmla="*/ 29552 h 104"/>
                <a:gd name="T10" fmla="*/ 17330 w 96"/>
                <a:gd name="T11" fmla="*/ 59104 h 104"/>
                <a:gd name="T12" fmla="*/ 0 w 96"/>
                <a:gd name="T13" fmla="*/ 73880 h 104"/>
                <a:gd name="T14" fmla="*/ 0 w 96"/>
                <a:gd name="T15" fmla="*/ 103432 h 104"/>
                <a:gd name="T16" fmla="*/ 0 w 96"/>
                <a:gd name="T17" fmla="*/ 118208 h 104"/>
                <a:gd name="T18" fmla="*/ 0 w 96"/>
                <a:gd name="T19" fmla="*/ 132984 h 104"/>
                <a:gd name="T20" fmla="*/ 34661 w 96"/>
                <a:gd name="T21" fmla="*/ 162536 h 104"/>
                <a:gd name="T22" fmla="*/ 34661 w 96"/>
                <a:gd name="T23" fmla="*/ 192088 h 104"/>
                <a:gd name="T24" fmla="*/ 86651 w 96"/>
                <a:gd name="T25" fmla="*/ 192088 h 104"/>
                <a:gd name="T26" fmla="*/ 173303 w 96"/>
                <a:gd name="T27" fmla="*/ 192088 h 104"/>
                <a:gd name="T28" fmla="*/ 155972 w 96"/>
                <a:gd name="T29" fmla="*/ 177312 h 104"/>
                <a:gd name="T30" fmla="*/ 190633 w 96"/>
                <a:gd name="T31" fmla="*/ 162536 h 104"/>
                <a:gd name="T32" fmla="*/ 155972 w 96"/>
                <a:gd name="T33" fmla="*/ 132984 h 104"/>
                <a:gd name="T34" fmla="*/ 138642 w 96"/>
                <a:gd name="T35" fmla="*/ 118208 h 104"/>
                <a:gd name="T36" fmla="*/ 207963 w 96"/>
                <a:gd name="T37" fmla="*/ 88656 h 104"/>
                <a:gd name="T38" fmla="*/ 207963 w 96"/>
                <a:gd name="T39" fmla="*/ 103432 h 104"/>
                <a:gd name="T40" fmla="*/ 190633 w 96"/>
                <a:gd name="T41" fmla="*/ 29552 h 104"/>
                <a:gd name="T42" fmla="*/ 173303 w 96"/>
                <a:gd name="T43" fmla="*/ 14776 h 104"/>
                <a:gd name="T44" fmla="*/ 190633 w 96"/>
                <a:gd name="T45" fmla="*/ 14776 h 104"/>
                <a:gd name="T46" fmla="*/ 173303 w 96"/>
                <a:gd name="T47" fmla="*/ 0 h 104"/>
                <a:gd name="T48" fmla="*/ 121312 w 96"/>
                <a:gd name="T49" fmla="*/ 29552 h 104"/>
                <a:gd name="T50" fmla="*/ 121312 w 96"/>
                <a:gd name="T51" fmla="*/ 14776 h 10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6"/>
                <a:gd name="T79" fmla="*/ 0 h 104"/>
                <a:gd name="T80" fmla="*/ 96 w 96"/>
                <a:gd name="T81" fmla="*/ 104 h 10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6" h="104">
                  <a:moveTo>
                    <a:pt x="56" y="8"/>
                  </a:moveTo>
                  <a:lnTo>
                    <a:pt x="40" y="0"/>
                  </a:lnTo>
                  <a:lnTo>
                    <a:pt x="32" y="0"/>
                  </a:lnTo>
                  <a:lnTo>
                    <a:pt x="24" y="16"/>
                  </a:lnTo>
                  <a:lnTo>
                    <a:pt x="16" y="16"/>
                  </a:lnTo>
                  <a:lnTo>
                    <a:pt x="8" y="32"/>
                  </a:lnTo>
                  <a:lnTo>
                    <a:pt x="0" y="40"/>
                  </a:lnTo>
                  <a:lnTo>
                    <a:pt x="0" y="56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16" y="88"/>
                  </a:lnTo>
                  <a:lnTo>
                    <a:pt x="16" y="104"/>
                  </a:lnTo>
                  <a:lnTo>
                    <a:pt x="40" y="104"/>
                  </a:lnTo>
                  <a:lnTo>
                    <a:pt x="80" y="104"/>
                  </a:lnTo>
                  <a:lnTo>
                    <a:pt x="72" y="96"/>
                  </a:lnTo>
                  <a:lnTo>
                    <a:pt x="88" y="88"/>
                  </a:lnTo>
                  <a:lnTo>
                    <a:pt x="72" y="72"/>
                  </a:lnTo>
                  <a:lnTo>
                    <a:pt x="64" y="64"/>
                  </a:lnTo>
                  <a:lnTo>
                    <a:pt x="96" y="48"/>
                  </a:lnTo>
                  <a:lnTo>
                    <a:pt x="96" y="56"/>
                  </a:lnTo>
                  <a:lnTo>
                    <a:pt x="88" y="16"/>
                  </a:lnTo>
                  <a:lnTo>
                    <a:pt x="80" y="8"/>
                  </a:lnTo>
                  <a:lnTo>
                    <a:pt x="88" y="8"/>
                  </a:lnTo>
                  <a:lnTo>
                    <a:pt x="80" y="0"/>
                  </a:lnTo>
                  <a:lnTo>
                    <a:pt x="56" y="16"/>
                  </a:lnTo>
                  <a:lnTo>
                    <a:pt x="56" y="8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Freeform 117">
              <a:extLst>
                <a:ext uri="{FF2B5EF4-FFF2-40B4-BE49-F238E27FC236}">
                  <a16:creationId xmlns:a16="http://schemas.microsoft.com/office/drawing/2014/main" id="{FCAEFEEE-E300-4049-B331-607C26B7BD2D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6305865" y="2384418"/>
              <a:ext cx="108131" cy="57680"/>
            </a:xfrm>
            <a:custGeom>
              <a:avLst/>
              <a:gdLst>
                <a:gd name="T0" fmla="*/ 17145 w 40"/>
                <a:gd name="T1" fmla="*/ 0 h 24"/>
                <a:gd name="T2" fmla="*/ 51435 w 40"/>
                <a:gd name="T3" fmla="*/ 0 h 24"/>
                <a:gd name="T4" fmla="*/ 85725 w 40"/>
                <a:gd name="T5" fmla="*/ 14817 h 24"/>
                <a:gd name="T6" fmla="*/ 85725 w 40"/>
                <a:gd name="T7" fmla="*/ 29633 h 24"/>
                <a:gd name="T8" fmla="*/ 68580 w 40"/>
                <a:gd name="T9" fmla="*/ 44450 h 24"/>
                <a:gd name="T10" fmla="*/ 51435 w 40"/>
                <a:gd name="T11" fmla="*/ 44450 h 24"/>
                <a:gd name="T12" fmla="*/ 51435 w 40"/>
                <a:gd name="T13" fmla="*/ 29633 h 24"/>
                <a:gd name="T14" fmla="*/ 34290 w 40"/>
                <a:gd name="T15" fmla="*/ 44450 h 24"/>
                <a:gd name="T16" fmla="*/ 0 w 40"/>
                <a:gd name="T17" fmla="*/ 14817 h 24"/>
                <a:gd name="T18" fmla="*/ 17145 w 40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24"/>
                <a:gd name="T32" fmla="*/ 40 w 40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24">
                  <a:moveTo>
                    <a:pt x="8" y="0"/>
                  </a:moveTo>
                  <a:lnTo>
                    <a:pt x="24" y="0"/>
                  </a:lnTo>
                  <a:lnTo>
                    <a:pt x="40" y="8"/>
                  </a:lnTo>
                  <a:lnTo>
                    <a:pt x="40" y="16"/>
                  </a:lnTo>
                  <a:lnTo>
                    <a:pt x="32" y="24"/>
                  </a:lnTo>
                  <a:lnTo>
                    <a:pt x="24" y="24"/>
                  </a:lnTo>
                  <a:lnTo>
                    <a:pt x="24" y="16"/>
                  </a:lnTo>
                  <a:lnTo>
                    <a:pt x="16" y="24"/>
                  </a:lnTo>
                  <a:lnTo>
                    <a:pt x="0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Freeform 118">
              <a:extLst>
                <a:ext uri="{FF2B5EF4-FFF2-40B4-BE49-F238E27FC236}">
                  <a16:creationId xmlns:a16="http://schemas.microsoft.com/office/drawing/2014/main" id="{CDD091A3-C7BE-4077-BD22-D0C7940AED52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6391970" y="1733456"/>
              <a:ext cx="698845" cy="420241"/>
            </a:xfrm>
            <a:custGeom>
              <a:avLst/>
              <a:gdLst>
                <a:gd name="T0" fmla="*/ 328960 w 256"/>
                <a:gd name="T1" fmla="*/ 73602 h 176"/>
                <a:gd name="T2" fmla="*/ 277019 w 256"/>
                <a:gd name="T3" fmla="*/ 73602 h 176"/>
                <a:gd name="T4" fmla="*/ 242392 w 256"/>
                <a:gd name="T5" fmla="*/ 103043 h 176"/>
                <a:gd name="T6" fmla="*/ 190451 w 256"/>
                <a:gd name="T7" fmla="*/ 161925 h 176"/>
                <a:gd name="T8" fmla="*/ 155823 w 256"/>
                <a:gd name="T9" fmla="*/ 176645 h 176"/>
                <a:gd name="T10" fmla="*/ 173137 w 256"/>
                <a:gd name="T11" fmla="*/ 250248 h 176"/>
                <a:gd name="T12" fmla="*/ 173137 w 256"/>
                <a:gd name="T13" fmla="*/ 279689 h 176"/>
                <a:gd name="T14" fmla="*/ 138510 w 256"/>
                <a:gd name="T15" fmla="*/ 309130 h 176"/>
                <a:gd name="T16" fmla="*/ 121196 w 256"/>
                <a:gd name="T17" fmla="*/ 294409 h 176"/>
                <a:gd name="T18" fmla="*/ 17314 w 256"/>
                <a:gd name="T19" fmla="*/ 323850 h 176"/>
                <a:gd name="T20" fmla="*/ 17314 w 256"/>
                <a:gd name="T21" fmla="*/ 294409 h 176"/>
                <a:gd name="T22" fmla="*/ 17314 w 256"/>
                <a:gd name="T23" fmla="*/ 279689 h 176"/>
                <a:gd name="T24" fmla="*/ 0 w 256"/>
                <a:gd name="T25" fmla="*/ 250248 h 176"/>
                <a:gd name="T26" fmla="*/ 51941 w 256"/>
                <a:gd name="T27" fmla="*/ 206086 h 176"/>
                <a:gd name="T28" fmla="*/ 86568 w 256"/>
                <a:gd name="T29" fmla="*/ 176645 h 176"/>
                <a:gd name="T30" fmla="*/ 155823 w 256"/>
                <a:gd name="T31" fmla="*/ 147205 h 176"/>
                <a:gd name="T32" fmla="*/ 242392 w 256"/>
                <a:gd name="T33" fmla="*/ 73602 h 176"/>
                <a:gd name="T34" fmla="*/ 225078 w 256"/>
                <a:gd name="T35" fmla="*/ 73602 h 176"/>
                <a:gd name="T36" fmla="*/ 242392 w 256"/>
                <a:gd name="T37" fmla="*/ 44161 h 176"/>
                <a:gd name="T38" fmla="*/ 259705 w 256"/>
                <a:gd name="T39" fmla="*/ 58882 h 176"/>
                <a:gd name="T40" fmla="*/ 259705 w 256"/>
                <a:gd name="T41" fmla="*/ 58882 h 176"/>
                <a:gd name="T42" fmla="*/ 294333 w 256"/>
                <a:gd name="T43" fmla="*/ 29441 h 176"/>
                <a:gd name="T44" fmla="*/ 380901 w 256"/>
                <a:gd name="T45" fmla="*/ 14720 h 176"/>
                <a:gd name="T46" fmla="*/ 432842 w 256"/>
                <a:gd name="T47" fmla="*/ 0 h 176"/>
                <a:gd name="T48" fmla="*/ 450156 w 256"/>
                <a:gd name="T49" fmla="*/ 14720 h 176"/>
                <a:gd name="T50" fmla="*/ 484783 w 256"/>
                <a:gd name="T51" fmla="*/ 0 h 176"/>
                <a:gd name="T52" fmla="*/ 554038 w 256"/>
                <a:gd name="T53" fmla="*/ 14720 h 176"/>
                <a:gd name="T54" fmla="*/ 554038 w 256"/>
                <a:gd name="T55" fmla="*/ 44161 h 176"/>
                <a:gd name="T56" fmla="*/ 519411 w 256"/>
                <a:gd name="T57" fmla="*/ 44161 h 176"/>
                <a:gd name="T58" fmla="*/ 450156 w 256"/>
                <a:gd name="T59" fmla="*/ 29441 h 176"/>
                <a:gd name="T60" fmla="*/ 432842 w 256"/>
                <a:gd name="T61" fmla="*/ 58882 h 176"/>
                <a:gd name="T62" fmla="*/ 346274 w 256"/>
                <a:gd name="T63" fmla="*/ 44161 h 17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56"/>
                <a:gd name="T97" fmla="*/ 0 h 176"/>
                <a:gd name="T98" fmla="*/ 256 w 256"/>
                <a:gd name="T99" fmla="*/ 176 h 17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56" h="176">
                  <a:moveTo>
                    <a:pt x="152" y="32"/>
                  </a:moveTo>
                  <a:lnTo>
                    <a:pt x="152" y="40"/>
                  </a:lnTo>
                  <a:lnTo>
                    <a:pt x="136" y="32"/>
                  </a:lnTo>
                  <a:lnTo>
                    <a:pt x="128" y="40"/>
                  </a:lnTo>
                  <a:lnTo>
                    <a:pt x="120" y="40"/>
                  </a:lnTo>
                  <a:lnTo>
                    <a:pt x="112" y="56"/>
                  </a:lnTo>
                  <a:lnTo>
                    <a:pt x="96" y="64"/>
                  </a:lnTo>
                  <a:lnTo>
                    <a:pt x="88" y="88"/>
                  </a:lnTo>
                  <a:lnTo>
                    <a:pt x="96" y="96"/>
                  </a:lnTo>
                  <a:lnTo>
                    <a:pt x="72" y="96"/>
                  </a:lnTo>
                  <a:lnTo>
                    <a:pt x="72" y="112"/>
                  </a:lnTo>
                  <a:lnTo>
                    <a:pt x="80" y="136"/>
                  </a:lnTo>
                  <a:lnTo>
                    <a:pt x="72" y="136"/>
                  </a:lnTo>
                  <a:lnTo>
                    <a:pt x="80" y="152"/>
                  </a:lnTo>
                  <a:lnTo>
                    <a:pt x="72" y="152"/>
                  </a:lnTo>
                  <a:lnTo>
                    <a:pt x="64" y="168"/>
                  </a:lnTo>
                  <a:lnTo>
                    <a:pt x="64" y="160"/>
                  </a:lnTo>
                  <a:lnTo>
                    <a:pt x="56" y="160"/>
                  </a:lnTo>
                  <a:lnTo>
                    <a:pt x="24" y="176"/>
                  </a:lnTo>
                  <a:lnTo>
                    <a:pt x="8" y="176"/>
                  </a:lnTo>
                  <a:lnTo>
                    <a:pt x="8" y="168"/>
                  </a:lnTo>
                  <a:lnTo>
                    <a:pt x="8" y="160"/>
                  </a:lnTo>
                  <a:lnTo>
                    <a:pt x="0" y="160"/>
                  </a:lnTo>
                  <a:lnTo>
                    <a:pt x="8" y="152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8"/>
                  </a:lnTo>
                  <a:lnTo>
                    <a:pt x="24" y="112"/>
                  </a:lnTo>
                  <a:lnTo>
                    <a:pt x="32" y="112"/>
                  </a:lnTo>
                  <a:lnTo>
                    <a:pt x="40" y="96"/>
                  </a:lnTo>
                  <a:lnTo>
                    <a:pt x="48" y="104"/>
                  </a:lnTo>
                  <a:lnTo>
                    <a:pt x="72" y="80"/>
                  </a:lnTo>
                  <a:lnTo>
                    <a:pt x="88" y="56"/>
                  </a:lnTo>
                  <a:lnTo>
                    <a:pt x="112" y="40"/>
                  </a:lnTo>
                  <a:lnTo>
                    <a:pt x="80" y="48"/>
                  </a:lnTo>
                  <a:lnTo>
                    <a:pt x="104" y="40"/>
                  </a:lnTo>
                  <a:lnTo>
                    <a:pt x="96" y="32"/>
                  </a:lnTo>
                  <a:lnTo>
                    <a:pt x="112" y="24"/>
                  </a:lnTo>
                  <a:lnTo>
                    <a:pt x="112" y="32"/>
                  </a:lnTo>
                  <a:lnTo>
                    <a:pt x="120" y="32"/>
                  </a:lnTo>
                  <a:lnTo>
                    <a:pt x="128" y="32"/>
                  </a:lnTo>
                  <a:lnTo>
                    <a:pt x="120" y="32"/>
                  </a:lnTo>
                  <a:lnTo>
                    <a:pt x="120" y="24"/>
                  </a:lnTo>
                  <a:lnTo>
                    <a:pt x="136" y="16"/>
                  </a:lnTo>
                  <a:lnTo>
                    <a:pt x="160" y="16"/>
                  </a:lnTo>
                  <a:lnTo>
                    <a:pt x="176" y="8"/>
                  </a:lnTo>
                  <a:lnTo>
                    <a:pt x="192" y="8"/>
                  </a:lnTo>
                  <a:lnTo>
                    <a:pt x="200" y="0"/>
                  </a:lnTo>
                  <a:lnTo>
                    <a:pt x="200" y="8"/>
                  </a:lnTo>
                  <a:lnTo>
                    <a:pt x="208" y="8"/>
                  </a:lnTo>
                  <a:lnTo>
                    <a:pt x="216" y="8"/>
                  </a:lnTo>
                  <a:lnTo>
                    <a:pt x="224" y="0"/>
                  </a:lnTo>
                  <a:lnTo>
                    <a:pt x="232" y="8"/>
                  </a:lnTo>
                  <a:lnTo>
                    <a:pt x="256" y="8"/>
                  </a:lnTo>
                  <a:lnTo>
                    <a:pt x="232" y="16"/>
                  </a:lnTo>
                  <a:lnTo>
                    <a:pt x="256" y="24"/>
                  </a:lnTo>
                  <a:lnTo>
                    <a:pt x="240" y="32"/>
                  </a:lnTo>
                  <a:lnTo>
                    <a:pt x="240" y="24"/>
                  </a:lnTo>
                  <a:lnTo>
                    <a:pt x="224" y="16"/>
                  </a:lnTo>
                  <a:lnTo>
                    <a:pt x="208" y="16"/>
                  </a:lnTo>
                  <a:lnTo>
                    <a:pt x="208" y="32"/>
                  </a:lnTo>
                  <a:lnTo>
                    <a:pt x="200" y="32"/>
                  </a:lnTo>
                  <a:lnTo>
                    <a:pt x="176" y="32"/>
                  </a:lnTo>
                  <a:lnTo>
                    <a:pt x="160" y="24"/>
                  </a:lnTo>
                  <a:lnTo>
                    <a:pt x="152" y="32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Freeform 119">
              <a:extLst>
                <a:ext uri="{FF2B5EF4-FFF2-40B4-BE49-F238E27FC236}">
                  <a16:creationId xmlns:a16="http://schemas.microsoft.com/office/drawing/2014/main" id="{FADB6D8E-51D5-4681-BE29-AFBB1C267A64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6566180" y="1809677"/>
              <a:ext cx="350424" cy="440841"/>
            </a:xfrm>
            <a:custGeom>
              <a:avLst/>
              <a:gdLst>
                <a:gd name="T0" fmla="*/ 0 w 128"/>
                <a:gd name="T1" fmla="*/ 251101 h 184"/>
                <a:gd name="T2" fmla="*/ 17363 w 128"/>
                <a:gd name="T3" fmla="*/ 221560 h 184"/>
                <a:gd name="T4" fmla="*/ 34727 w 128"/>
                <a:gd name="T5" fmla="*/ 221560 h 184"/>
                <a:gd name="T6" fmla="*/ 17363 w 128"/>
                <a:gd name="T7" fmla="*/ 192018 h 184"/>
                <a:gd name="T8" fmla="*/ 34727 w 128"/>
                <a:gd name="T9" fmla="*/ 192018 h 184"/>
                <a:gd name="T10" fmla="*/ 17363 w 128"/>
                <a:gd name="T11" fmla="*/ 147707 h 184"/>
                <a:gd name="T12" fmla="*/ 17363 w 128"/>
                <a:gd name="T13" fmla="*/ 118165 h 184"/>
                <a:gd name="T14" fmla="*/ 69453 w 128"/>
                <a:gd name="T15" fmla="*/ 118165 h 184"/>
                <a:gd name="T16" fmla="*/ 52090 w 128"/>
                <a:gd name="T17" fmla="*/ 103395 h 184"/>
                <a:gd name="T18" fmla="*/ 69453 w 128"/>
                <a:gd name="T19" fmla="*/ 59083 h 184"/>
                <a:gd name="T20" fmla="*/ 104180 w 128"/>
                <a:gd name="T21" fmla="*/ 44312 h 184"/>
                <a:gd name="T22" fmla="*/ 121543 w 128"/>
                <a:gd name="T23" fmla="*/ 14771 h 184"/>
                <a:gd name="T24" fmla="*/ 138907 w 128"/>
                <a:gd name="T25" fmla="*/ 14771 h 184"/>
                <a:gd name="T26" fmla="*/ 156270 w 128"/>
                <a:gd name="T27" fmla="*/ 0 h 184"/>
                <a:gd name="T28" fmla="*/ 190996 w 128"/>
                <a:gd name="T29" fmla="*/ 14771 h 184"/>
                <a:gd name="T30" fmla="*/ 190996 w 128"/>
                <a:gd name="T31" fmla="*/ 0 h 184"/>
                <a:gd name="T32" fmla="*/ 260450 w 128"/>
                <a:gd name="T33" fmla="*/ 14771 h 184"/>
                <a:gd name="T34" fmla="*/ 277813 w 128"/>
                <a:gd name="T35" fmla="*/ 73853 h 184"/>
                <a:gd name="T36" fmla="*/ 243086 w 128"/>
                <a:gd name="T37" fmla="*/ 73853 h 184"/>
                <a:gd name="T38" fmla="*/ 225723 w 128"/>
                <a:gd name="T39" fmla="*/ 103395 h 184"/>
                <a:gd name="T40" fmla="*/ 138907 w 128"/>
                <a:gd name="T41" fmla="*/ 162477 h 184"/>
                <a:gd name="T42" fmla="*/ 138907 w 128"/>
                <a:gd name="T43" fmla="*/ 192018 h 184"/>
                <a:gd name="T44" fmla="*/ 173633 w 128"/>
                <a:gd name="T45" fmla="*/ 221560 h 184"/>
                <a:gd name="T46" fmla="*/ 156270 w 128"/>
                <a:gd name="T47" fmla="*/ 236330 h 184"/>
                <a:gd name="T48" fmla="*/ 173633 w 128"/>
                <a:gd name="T49" fmla="*/ 236330 h 184"/>
                <a:gd name="T50" fmla="*/ 138907 w 128"/>
                <a:gd name="T51" fmla="*/ 251101 h 184"/>
                <a:gd name="T52" fmla="*/ 121543 w 128"/>
                <a:gd name="T53" fmla="*/ 310184 h 184"/>
                <a:gd name="T54" fmla="*/ 86817 w 128"/>
                <a:gd name="T55" fmla="*/ 310184 h 184"/>
                <a:gd name="T56" fmla="*/ 69453 w 128"/>
                <a:gd name="T57" fmla="*/ 339725 h 184"/>
                <a:gd name="T58" fmla="*/ 52090 w 128"/>
                <a:gd name="T59" fmla="*/ 339725 h 184"/>
                <a:gd name="T60" fmla="*/ 34727 w 128"/>
                <a:gd name="T61" fmla="*/ 310184 h 184"/>
                <a:gd name="T62" fmla="*/ 0 w 128"/>
                <a:gd name="T63" fmla="*/ 236330 h 184"/>
                <a:gd name="T64" fmla="*/ 0 w 128"/>
                <a:gd name="T65" fmla="*/ 251101 h 18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8"/>
                <a:gd name="T100" fmla="*/ 0 h 184"/>
                <a:gd name="T101" fmla="*/ 128 w 128"/>
                <a:gd name="T102" fmla="*/ 184 h 18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8" h="184">
                  <a:moveTo>
                    <a:pt x="0" y="136"/>
                  </a:moveTo>
                  <a:lnTo>
                    <a:pt x="8" y="120"/>
                  </a:lnTo>
                  <a:lnTo>
                    <a:pt x="16" y="120"/>
                  </a:lnTo>
                  <a:lnTo>
                    <a:pt x="8" y="104"/>
                  </a:lnTo>
                  <a:lnTo>
                    <a:pt x="16" y="104"/>
                  </a:lnTo>
                  <a:lnTo>
                    <a:pt x="8" y="80"/>
                  </a:lnTo>
                  <a:lnTo>
                    <a:pt x="8" y="64"/>
                  </a:lnTo>
                  <a:lnTo>
                    <a:pt x="32" y="64"/>
                  </a:lnTo>
                  <a:lnTo>
                    <a:pt x="24" y="56"/>
                  </a:lnTo>
                  <a:lnTo>
                    <a:pt x="32" y="32"/>
                  </a:lnTo>
                  <a:lnTo>
                    <a:pt x="48" y="24"/>
                  </a:lnTo>
                  <a:lnTo>
                    <a:pt x="56" y="8"/>
                  </a:lnTo>
                  <a:lnTo>
                    <a:pt x="64" y="8"/>
                  </a:lnTo>
                  <a:lnTo>
                    <a:pt x="72" y="0"/>
                  </a:lnTo>
                  <a:lnTo>
                    <a:pt x="88" y="8"/>
                  </a:lnTo>
                  <a:lnTo>
                    <a:pt x="88" y="0"/>
                  </a:lnTo>
                  <a:lnTo>
                    <a:pt x="120" y="8"/>
                  </a:lnTo>
                  <a:lnTo>
                    <a:pt x="128" y="40"/>
                  </a:lnTo>
                  <a:lnTo>
                    <a:pt x="112" y="40"/>
                  </a:lnTo>
                  <a:lnTo>
                    <a:pt x="104" y="56"/>
                  </a:lnTo>
                  <a:lnTo>
                    <a:pt x="64" y="88"/>
                  </a:lnTo>
                  <a:lnTo>
                    <a:pt x="64" y="104"/>
                  </a:lnTo>
                  <a:lnTo>
                    <a:pt x="80" y="120"/>
                  </a:lnTo>
                  <a:lnTo>
                    <a:pt x="72" y="128"/>
                  </a:lnTo>
                  <a:lnTo>
                    <a:pt x="80" y="128"/>
                  </a:lnTo>
                  <a:lnTo>
                    <a:pt x="64" y="136"/>
                  </a:lnTo>
                  <a:lnTo>
                    <a:pt x="56" y="168"/>
                  </a:lnTo>
                  <a:lnTo>
                    <a:pt x="40" y="168"/>
                  </a:lnTo>
                  <a:lnTo>
                    <a:pt x="32" y="184"/>
                  </a:lnTo>
                  <a:lnTo>
                    <a:pt x="24" y="184"/>
                  </a:lnTo>
                  <a:lnTo>
                    <a:pt x="16" y="168"/>
                  </a:lnTo>
                  <a:lnTo>
                    <a:pt x="0" y="128"/>
                  </a:lnTo>
                  <a:lnTo>
                    <a:pt x="0" y="136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Freeform 120">
              <a:extLst>
                <a:ext uri="{FF2B5EF4-FFF2-40B4-BE49-F238E27FC236}">
                  <a16:creationId xmlns:a16="http://schemas.microsoft.com/office/drawing/2014/main" id="{75C648BB-F1D4-498F-94BD-66CBFE143B84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6806470" y="1772597"/>
              <a:ext cx="326395" cy="325481"/>
            </a:xfrm>
            <a:custGeom>
              <a:avLst/>
              <a:gdLst>
                <a:gd name="T0" fmla="*/ 189760 w 120"/>
                <a:gd name="T1" fmla="*/ 29509 h 136"/>
                <a:gd name="T2" fmla="*/ 172509 w 120"/>
                <a:gd name="T3" fmla="*/ 29509 h 136"/>
                <a:gd name="T4" fmla="*/ 172509 w 120"/>
                <a:gd name="T5" fmla="*/ 44263 h 136"/>
                <a:gd name="T6" fmla="*/ 207010 w 120"/>
                <a:gd name="T7" fmla="*/ 59018 h 136"/>
                <a:gd name="T8" fmla="*/ 207010 w 120"/>
                <a:gd name="T9" fmla="*/ 73772 h 136"/>
                <a:gd name="T10" fmla="*/ 224261 w 120"/>
                <a:gd name="T11" fmla="*/ 103281 h 136"/>
                <a:gd name="T12" fmla="*/ 224261 w 120"/>
                <a:gd name="T13" fmla="*/ 118035 h 136"/>
                <a:gd name="T14" fmla="*/ 241512 w 120"/>
                <a:gd name="T15" fmla="*/ 132790 h 136"/>
                <a:gd name="T16" fmla="*/ 241512 w 120"/>
                <a:gd name="T17" fmla="*/ 147544 h 136"/>
                <a:gd name="T18" fmla="*/ 258763 w 120"/>
                <a:gd name="T19" fmla="*/ 177053 h 136"/>
                <a:gd name="T20" fmla="*/ 189760 w 120"/>
                <a:gd name="T21" fmla="*/ 236071 h 136"/>
                <a:gd name="T22" fmla="*/ 103505 w 120"/>
                <a:gd name="T23" fmla="*/ 250825 h 136"/>
                <a:gd name="T24" fmla="*/ 51753 w 120"/>
                <a:gd name="T25" fmla="*/ 236071 h 136"/>
                <a:gd name="T26" fmla="*/ 51753 w 120"/>
                <a:gd name="T27" fmla="*/ 206562 h 136"/>
                <a:gd name="T28" fmla="*/ 34502 w 120"/>
                <a:gd name="T29" fmla="*/ 177053 h 136"/>
                <a:gd name="T30" fmla="*/ 51753 w 120"/>
                <a:gd name="T31" fmla="*/ 177053 h 136"/>
                <a:gd name="T32" fmla="*/ 120756 w 120"/>
                <a:gd name="T33" fmla="*/ 118035 h 136"/>
                <a:gd name="T34" fmla="*/ 120756 w 120"/>
                <a:gd name="T35" fmla="*/ 103281 h 136"/>
                <a:gd name="T36" fmla="*/ 103505 w 120"/>
                <a:gd name="T37" fmla="*/ 103281 h 136"/>
                <a:gd name="T38" fmla="*/ 86254 w 120"/>
                <a:gd name="T39" fmla="*/ 103281 h 136"/>
                <a:gd name="T40" fmla="*/ 69003 w 120"/>
                <a:gd name="T41" fmla="*/ 44263 h 136"/>
                <a:gd name="T42" fmla="*/ 0 w 120"/>
                <a:gd name="T43" fmla="*/ 29509 h 136"/>
                <a:gd name="T44" fmla="*/ 17251 w 120"/>
                <a:gd name="T45" fmla="*/ 14754 h 136"/>
                <a:gd name="T46" fmla="*/ 51753 w 120"/>
                <a:gd name="T47" fmla="*/ 29509 h 136"/>
                <a:gd name="T48" fmla="*/ 103505 w 120"/>
                <a:gd name="T49" fmla="*/ 29509 h 136"/>
                <a:gd name="T50" fmla="*/ 120756 w 120"/>
                <a:gd name="T51" fmla="*/ 29509 h 136"/>
                <a:gd name="T52" fmla="*/ 120756 w 120"/>
                <a:gd name="T53" fmla="*/ 0 h 136"/>
                <a:gd name="T54" fmla="*/ 155258 w 120"/>
                <a:gd name="T55" fmla="*/ 0 h 136"/>
                <a:gd name="T56" fmla="*/ 189760 w 120"/>
                <a:gd name="T57" fmla="*/ 14754 h 136"/>
                <a:gd name="T58" fmla="*/ 189760 w 120"/>
                <a:gd name="T59" fmla="*/ 29509 h 1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136"/>
                <a:gd name="T92" fmla="*/ 120 w 120"/>
                <a:gd name="T93" fmla="*/ 136 h 1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136">
                  <a:moveTo>
                    <a:pt x="88" y="16"/>
                  </a:moveTo>
                  <a:lnTo>
                    <a:pt x="80" y="16"/>
                  </a:lnTo>
                  <a:lnTo>
                    <a:pt x="80" y="24"/>
                  </a:lnTo>
                  <a:lnTo>
                    <a:pt x="96" y="32"/>
                  </a:lnTo>
                  <a:lnTo>
                    <a:pt x="96" y="40"/>
                  </a:lnTo>
                  <a:lnTo>
                    <a:pt x="104" y="56"/>
                  </a:lnTo>
                  <a:lnTo>
                    <a:pt x="104" y="64"/>
                  </a:lnTo>
                  <a:lnTo>
                    <a:pt x="112" y="72"/>
                  </a:lnTo>
                  <a:lnTo>
                    <a:pt x="112" y="80"/>
                  </a:lnTo>
                  <a:lnTo>
                    <a:pt x="120" y="96"/>
                  </a:lnTo>
                  <a:lnTo>
                    <a:pt x="88" y="128"/>
                  </a:lnTo>
                  <a:lnTo>
                    <a:pt x="48" y="136"/>
                  </a:lnTo>
                  <a:lnTo>
                    <a:pt x="24" y="128"/>
                  </a:lnTo>
                  <a:lnTo>
                    <a:pt x="24" y="112"/>
                  </a:lnTo>
                  <a:lnTo>
                    <a:pt x="16" y="96"/>
                  </a:lnTo>
                  <a:lnTo>
                    <a:pt x="24" y="96"/>
                  </a:lnTo>
                  <a:lnTo>
                    <a:pt x="56" y="64"/>
                  </a:lnTo>
                  <a:lnTo>
                    <a:pt x="56" y="56"/>
                  </a:lnTo>
                  <a:lnTo>
                    <a:pt x="48" y="56"/>
                  </a:lnTo>
                  <a:lnTo>
                    <a:pt x="40" y="56"/>
                  </a:lnTo>
                  <a:lnTo>
                    <a:pt x="32" y="24"/>
                  </a:lnTo>
                  <a:lnTo>
                    <a:pt x="0" y="16"/>
                  </a:lnTo>
                  <a:lnTo>
                    <a:pt x="8" y="8"/>
                  </a:lnTo>
                  <a:lnTo>
                    <a:pt x="24" y="16"/>
                  </a:lnTo>
                  <a:lnTo>
                    <a:pt x="48" y="16"/>
                  </a:lnTo>
                  <a:lnTo>
                    <a:pt x="56" y="16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88" y="8"/>
                  </a:lnTo>
                  <a:lnTo>
                    <a:pt x="88" y="16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Freeform 121">
              <a:extLst>
                <a:ext uri="{FF2B5EF4-FFF2-40B4-BE49-F238E27FC236}">
                  <a16:creationId xmlns:a16="http://schemas.microsoft.com/office/drawing/2014/main" id="{160CA452-7090-417F-991C-15CD59F40046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2160855" y="1657236"/>
              <a:ext cx="2334822" cy="1071204"/>
            </a:xfrm>
            <a:custGeom>
              <a:avLst/>
              <a:gdLst>
                <a:gd name="T0" fmla="*/ 1522338 w 856"/>
                <a:gd name="T1" fmla="*/ 722313 h 448"/>
                <a:gd name="T2" fmla="*/ 1487740 w 856"/>
                <a:gd name="T3" fmla="*/ 781277 h 448"/>
                <a:gd name="T4" fmla="*/ 1660733 w 856"/>
                <a:gd name="T5" fmla="*/ 707571 h 448"/>
                <a:gd name="T6" fmla="*/ 1626134 w 856"/>
                <a:gd name="T7" fmla="*/ 707571 h 448"/>
                <a:gd name="T8" fmla="*/ 1556937 w 856"/>
                <a:gd name="T9" fmla="*/ 663348 h 448"/>
                <a:gd name="T10" fmla="*/ 1591536 w 856"/>
                <a:gd name="T11" fmla="*/ 633866 h 448"/>
                <a:gd name="T12" fmla="*/ 1383944 w 856"/>
                <a:gd name="T13" fmla="*/ 678089 h 448"/>
                <a:gd name="T14" fmla="*/ 1522338 w 856"/>
                <a:gd name="T15" fmla="*/ 619125 h 448"/>
                <a:gd name="T16" fmla="*/ 1712631 w 856"/>
                <a:gd name="T17" fmla="*/ 589643 h 448"/>
                <a:gd name="T18" fmla="*/ 1851025 w 856"/>
                <a:gd name="T19" fmla="*/ 515938 h 448"/>
                <a:gd name="T20" fmla="*/ 1833726 w 856"/>
                <a:gd name="T21" fmla="*/ 486455 h 448"/>
                <a:gd name="T22" fmla="*/ 1799127 w 856"/>
                <a:gd name="T23" fmla="*/ 471714 h 448"/>
                <a:gd name="T24" fmla="*/ 1781828 w 856"/>
                <a:gd name="T25" fmla="*/ 442232 h 448"/>
                <a:gd name="T26" fmla="*/ 1747229 w 856"/>
                <a:gd name="T27" fmla="*/ 324304 h 448"/>
                <a:gd name="T28" fmla="*/ 1643433 w 856"/>
                <a:gd name="T29" fmla="*/ 383268 h 448"/>
                <a:gd name="T30" fmla="*/ 1608835 w 856"/>
                <a:gd name="T31" fmla="*/ 309563 h 448"/>
                <a:gd name="T32" fmla="*/ 1505039 w 856"/>
                <a:gd name="T33" fmla="*/ 265339 h 448"/>
                <a:gd name="T34" fmla="*/ 1453141 w 856"/>
                <a:gd name="T35" fmla="*/ 309563 h 448"/>
                <a:gd name="T36" fmla="*/ 1401243 w 856"/>
                <a:gd name="T37" fmla="*/ 368527 h 448"/>
                <a:gd name="T38" fmla="*/ 1297448 w 856"/>
                <a:gd name="T39" fmla="*/ 471714 h 448"/>
                <a:gd name="T40" fmla="*/ 1228250 w 856"/>
                <a:gd name="T41" fmla="*/ 574902 h 448"/>
                <a:gd name="T42" fmla="*/ 1176353 w 856"/>
                <a:gd name="T43" fmla="*/ 456973 h 448"/>
                <a:gd name="T44" fmla="*/ 1055257 w 856"/>
                <a:gd name="T45" fmla="*/ 368527 h 448"/>
                <a:gd name="T46" fmla="*/ 1089856 w 856"/>
                <a:gd name="T47" fmla="*/ 309563 h 448"/>
                <a:gd name="T48" fmla="*/ 1210951 w 856"/>
                <a:gd name="T49" fmla="*/ 265339 h 448"/>
                <a:gd name="T50" fmla="*/ 1332046 w 856"/>
                <a:gd name="T51" fmla="*/ 206375 h 448"/>
                <a:gd name="T52" fmla="*/ 1435842 w 856"/>
                <a:gd name="T53" fmla="*/ 176893 h 448"/>
                <a:gd name="T54" fmla="*/ 1505039 w 856"/>
                <a:gd name="T55" fmla="*/ 147411 h 448"/>
                <a:gd name="T56" fmla="*/ 1539638 w 856"/>
                <a:gd name="T57" fmla="*/ 103188 h 448"/>
                <a:gd name="T58" fmla="*/ 1383944 w 856"/>
                <a:gd name="T59" fmla="*/ 162152 h 448"/>
                <a:gd name="T60" fmla="*/ 1401243 w 856"/>
                <a:gd name="T61" fmla="*/ 103188 h 448"/>
                <a:gd name="T62" fmla="*/ 1332046 w 856"/>
                <a:gd name="T63" fmla="*/ 88446 h 448"/>
                <a:gd name="T64" fmla="*/ 1383944 w 856"/>
                <a:gd name="T65" fmla="*/ 44223 h 448"/>
                <a:gd name="T66" fmla="*/ 1487740 w 856"/>
                <a:gd name="T67" fmla="*/ 0 h 448"/>
                <a:gd name="T68" fmla="*/ 1332046 w 856"/>
                <a:gd name="T69" fmla="*/ 44223 h 448"/>
                <a:gd name="T70" fmla="*/ 1297448 w 856"/>
                <a:gd name="T71" fmla="*/ 103188 h 448"/>
                <a:gd name="T72" fmla="*/ 1193652 w 856"/>
                <a:gd name="T73" fmla="*/ 147411 h 448"/>
                <a:gd name="T74" fmla="*/ 1245550 w 856"/>
                <a:gd name="T75" fmla="*/ 103188 h 448"/>
                <a:gd name="T76" fmla="*/ 1193652 w 856"/>
                <a:gd name="T77" fmla="*/ 117929 h 448"/>
                <a:gd name="T78" fmla="*/ 1037958 w 856"/>
                <a:gd name="T79" fmla="*/ 132670 h 448"/>
                <a:gd name="T80" fmla="*/ 968761 w 856"/>
                <a:gd name="T81" fmla="*/ 132670 h 448"/>
                <a:gd name="T82" fmla="*/ 847666 w 856"/>
                <a:gd name="T83" fmla="*/ 147411 h 448"/>
                <a:gd name="T84" fmla="*/ 847666 w 856"/>
                <a:gd name="T85" fmla="*/ 117929 h 448"/>
                <a:gd name="T86" fmla="*/ 709271 w 856"/>
                <a:gd name="T87" fmla="*/ 88446 h 448"/>
                <a:gd name="T88" fmla="*/ 674673 w 856"/>
                <a:gd name="T89" fmla="*/ 88446 h 448"/>
                <a:gd name="T90" fmla="*/ 640074 w 856"/>
                <a:gd name="T91" fmla="*/ 88446 h 448"/>
                <a:gd name="T92" fmla="*/ 467081 w 856"/>
                <a:gd name="T93" fmla="*/ 103188 h 448"/>
                <a:gd name="T94" fmla="*/ 328687 w 856"/>
                <a:gd name="T95" fmla="*/ 103188 h 448"/>
                <a:gd name="T96" fmla="*/ 17299 w 856"/>
                <a:gd name="T97" fmla="*/ 339045 h 448"/>
                <a:gd name="T98" fmla="*/ 103796 w 856"/>
                <a:gd name="T99" fmla="*/ 368527 h 448"/>
                <a:gd name="T100" fmla="*/ 86497 w 856"/>
                <a:gd name="T101" fmla="*/ 471714 h 448"/>
                <a:gd name="T102" fmla="*/ 51898 w 856"/>
                <a:gd name="T103" fmla="*/ 530679 h 448"/>
                <a:gd name="T104" fmla="*/ 103796 w 856"/>
                <a:gd name="T105" fmla="*/ 619125 h 448"/>
                <a:gd name="T106" fmla="*/ 830366 w 856"/>
                <a:gd name="T107" fmla="*/ 633866 h 448"/>
                <a:gd name="T108" fmla="*/ 986060 w 856"/>
                <a:gd name="T109" fmla="*/ 619125 h 448"/>
                <a:gd name="T110" fmla="*/ 1055257 w 856"/>
                <a:gd name="T111" fmla="*/ 648607 h 448"/>
                <a:gd name="T112" fmla="*/ 1141754 w 856"/>
                <a:gd name="T113" fmla="*/ 737054 h 448"/>
                <a:gd name="T114" fmla="*/ 1055257 w 856"/>
                <a:gd name="T115" fmla="*/ 781277 h 448"/>
                <a:gd name="T116" fmla="*/ 1055257 w 856"/>
                <a:gd name="T117" fmla="*/ 796018 h 448"/>
                <a:gd name="T118" fmla="*/ 1107155 w 856"/>
                <a:gd name="T119" fmla="*/ 781277 h 448"/>
                <a:gd name="T120" fmla="*/ 1228250 w 856"/>
                <a:gd name="T121" fmla="*/ 751795 h 448"/>
                <a:gd name="T122" fmla="*/ 1383944 w 856"/>
                <a:gd name="T123" fmla="*/ 722313 h 448"/>
                <a:gd name="T124" fmla="*/ 1453141 w 856"/>
                <a:gd name="T125" fmla="*/ 722313 h 4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56"/>
                <a:gd name="T190" fmla="*/ 0 h 448"/>
                <a:gd name="T191" fmla="*/ 856 w 856"/>
                <a:gd name="T192" fmla="*/ 448 h 44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56" h="448">
                  <a:moveTo>
                    <a:pt x="680" y="392"/>
                  </a:moveTo>
                  <a:lnTo>
                    <a:pt x="712" y="392"/>
                  </a:lnTo>
                  <a:lnTo>
                    <a:pt x="704" y="392"/>
                  </a:lnTo>
                  <a:lnTo>
                    <a:pt x="712" y="392"/>
                  </a:lnTo>
                  <a:lnTo>
                    <a:pt x="688" y="408"/>
                  </a:lnTo>
                  <a:lnTo>
                    <a:pt x="688" y="424"/>
                  </a:lnTo>
                  <a:lnTo>
                    <a:pt x="712" y="408"/>
                  </a:lnTo>
                  <a:lnTo>
                    <a:pt x="752" y="392"/>
                  </a:lnTo>
                  <a:lnTo>
                    <a:pt x="768" y="384"/>
                  </a:lnTo>
                  <a:lnTo>
                    <a:pt x="768" y="376"/>
                  </a:lnTo>
                  <a:lnTo>
                    <a:pt x="768" y="368"/>
                  </a:lnTo>
                  <a:lnTo>
                    <a:pt x="752" y="384"/>
                  </a:lnTo>
                  <a:lnTo>
                    <a:pt x="728" y="384"/>
                  </a:lnTo>
                  <a:lnTo>
                    <a:pt x="712" y="376"/>
                  </a:lnTo>
                  <a:lnTo>
                    <a:pt x="720" y="360"/>
                  </a:lnTo>
                  <a:lnTo>
                    <a:pt x="712" y="360"/>
                  </a:lnTo>
                  <a:lnTo>
                    <a:pt x="704" y="352"/>
                  </a:lnTo>
                  <a:lnTo>
                    <a:pt x="736" y="344"/>
                  </a:lnTo>
                  <a:lnTo>
                    <a:pt x="728" y="336"/>
                  </a:lnTo>
                  <a:lnTo>
                    <a:pt x="680" y="344"/>
                  </a:lnTo>
                  <a:lnTo>
                    <a:pt x="640" y="368"/>
                  </a:lnTo>
                  <a:lnTo>
                    <a:pt x="672" y="344"/>
                  </a:lnTo>
                  <a:lnTo>
                    <a:pt x="696" y="336"/>
                  </a:lnTo>
                  <a:lnTo>
                    <a:pt x="704" y="336"/>
                  </a:lnTo>
                  <a:lnTo>
                    <a:pt x="712" y="320"/>
                  </a:lnTo>
                  <a:lnTo>
                    <a:pt x="744" y="320"/>
                  </a:lnTo>
                  <a:lnTo>
                    <a:pt x="792" y="320"/>
                  </a:lnTo>
                  <a:lnTo>
                    <a:pt x="816" y="304"/>
                  </a:lnTo>
                  <a:lnTo>
                    <a:pt x="856" y="296"/>
                  </a:lnTo>
                  <a:lnTo>
                    <a:pt x="856" y="280"/>
                  </a:lnTo>
                  <a:lnTo>
                    <a:pt x="856" y="272"/>
                  </a:lnTo>
                  <a:lnTo>
                    <a:pt x="848" y="272"/>
                  </a:lnTo>
                  <a:lnTo>
                    <a:pt x="848" y="264"/>
                  </a:lnTo>
                  <a:lnTo>
                    <a:pt x="832" y="264"/>
                  </a:lnTo>
                  <a:lnTo>
                    <a:pt x="848" y="256"/>
                  </a:lnTo>
                  <a:lnTo>
                    <a:pt x="832" y="256"/>
                  </a:lnTo>
                  <a:lnTo>
                    <a:pt x="832" y="248"/>
                  </a:lnTo>
                  <a:lnTo>
                    <a:pt x="816" y="248"/>
                  </a:lnTo>
                  <a:lnTo>
                    <a:pt x="824" y="240"/>
                  </a:lnTo>
                  <a:lnTo>
                    <a:pt x="808" y="232"/>
                  </a:lnTo>
                  <a:lnTo>
                    <a:pt x="824" y="224"/>
                  </a:lnTo>
                  <a:lnTo>
                    <a:pt x="808" y="176"/>
                  </a:lnTo>
                  <a:lnTo>
                    <a:pt x="792" y="184"/>
                  </a:lnTo>
                  <a:lnTo>
                    <a:pt x="792" y="192"/>
                  </a:lnTo>
                  <a:lnTo>
                    <a:pt x="760" y="208"/>
                  </a:lnTo>
                  <a:lnTo>
                    <a:pt x="752" y="192"/>
                  </a:lnTo>
                  <a:lnTo>
                    <a:pt x="760" y="168"/>
                  </a:lnTo>
                  <a:lnTo>
                    <a:pt x="744" y="168"/>
                  </a:lnTo>
                  <a:lnTo>
                    <a:pt x="744" y="160"/>
                  </a:lnTo>
                  <a:lnTo>
                    <a:pt x="728" y="152"/>
                  </a:lnTo>
                  <a:lnTo>
                    <a:pt x="696" y="144"/>
                  </a:lnTo>
                  <a:lnTo>
                    <a:pt x="680" y="152"/>
                  </a:lnTo>
                  <a:lnTo>
                    <a:pt x="680" y="160"/>
                  </a:lnTo>
                  <a:lnTo>
                    <a:pt x="672" y="168"/>
                  </a:lnTo>
                  <a:lnTo>
                    <a:pt x="672" y="176"/>
                  </a:lnTo>
                  <a:lnTo>
                    <a:pt x="664" y="184"/>
                  </a:lnTo>
                  <a:lnTo>
                    <a:pt x="648" y="200"/>
                  </a:lnTo>
                  <a:lnTo>
                    <a:pt x="656" y="208"/>
                  </a:lnTo>
                  <a:lnTo>
                    <a:pt x="640" y="240"/>
                  </a:lnTo>
                  <a:lnTo>
                    <a:pt x="600" y="256"/>
                  </a:lnTo>
                  <a:lnTo>
                    <a:pt x="592" y="296"/>
                  </a:lnTo>
                  <a:lnTo>
                    <a:pt x="568" y="304"/>
                  </a:lnTo>
                  <a:lnTo>
                    <a:pt x="568" y="312"/>
                  </a:lnTo>
                  <a:lnTo>
                    <a:pt x="552" y="280"/>
                  </a:lnTo>
                  <a:lnTo>
                    <a:pt x="576" y="256"/>
                  </a:lnTo>
                  <a:lnTo>
                    <a:pt x="544" y="248"/>
                  </a:lnTo>
                  <a:lnTo>
                    <a:pt x="496" y="224"/>
                  </a:lnTo>
                  <a:lnTo>
                    <a:pt x="480" y="224"/>
                  </a:lnTo>
                  <a:lnTo>
                    <a:pt x="488" y="200"/>
                  </a:lnTo>
                  <a:lnTo>
                    <a:pt x="472" y="200"/>
                  </a:lnTo>
                  <a:lnTo>
                    <a:pt x="472" y="192"/>
                  </a:lnTo>
                  <a:lnTo>
                    <a:pt x="504" y="168"/>
                  </a:lnTo>
                  <a:lnTo>
                    <a:pt x="528" y="152"/>
                  </a:lnTo>
                  <a:lnTo>
                    <a:pt x="536" y="144"/>
                  </a:lnTo>
                  <a:lnTo>
                    <a:pt x="560" y="144"/>
                  </a:lnTo>
                  <a:lnTo>
                    <a:pt x="576" y="128"/>
                  </a:lnTo>
                  <a:lnTo>
                    <a:pt x="592" y="128"/>
                  </a:lnTo>
                  <a:lnTo>
                    <a:pt x="616" y="112"/>
                  </a:lnTo>
                  <a:lnTo>
                    <a:pt x="640" y="96"/>
                  </a:lnTo>
                  <a:lnTo>
                    <a:pt x="648" y="96"/>
                  </a:lnTo>
                  <a:lnTo>
                    <a:pt x="664" y="96"/>
                  </a:lnTo>
                  <a:lnTo>
                    <a:pt x="696" y="88"/>
                  </a:lnTo>
                  <a:lnTo>
                    <a:pt x="704" y="80"/>
                  </a:lnTo>
                  <a:lnTo>
                    <a:pt x="696" y="80"/>
                  </a:lnTo>
                  <a:lnTo>
                    <a:pt x="720" y="56"/>
                  </a:lnTo>
                  <a:lnTo>
                    <a:pt x="704" y="56"/>
                  </a:lnTo>
                  <a:lnTo>
                    <a:pt x="712" y="56"/>
                  </a:lnTo>
                  <a:lnTo>
                    <a:pt x="688" y="48"/>
                  </a:lnTo>
                  <a:lnTo>
                    <a:pt x="672" y="72"/>
                  </a:lnTo>
                  <a:lnTo>
                    <a:pt x="640" y="88"/>
                  </a:lnTo>
                  <a:lnTo>
                    <a:pt x="640" y="80"/>
                  </a:lnTo>
                  <a:lnTo>
                    <a:pt x="648" y="64"/>
                  </a:lnTo>
                  <a:lnTo>
                    <a:pt x="648" y="56"/>
                  </a:lnTo>
                  <a:lnTo>
                    <a:pt x="632" y="64"/>
                  </a:lnTo>
                  <a:lnTo>
                    <a:pt x="624" y="56"/>
                  </a:lnTo>
                  <a:lnTo>
                    <a:pt x="616" y="48"/>
                  </a:lnTo>
                  <a:lnTo>
                    <a:pt x="632" y="48"/>
                  </a:lnTo>
                  <a:lnTo>
                    <a:pt x="624" y="24"/>
                  </a:lnTo>
                  <a:lnTo>
                    <a:pt x="640" y="24"/>
                  </a:lnTo>
                  <a:lnTo>
                    <a:pt x="640" y="16"/>
                  </a:lnTo>
                  <a:lnTo>
                    <a:pt x="656" y="16"/>
                  </a:lnTo>
                  <a:lnTo>
                    <a:pt x="688" y="0"/>
                  </a:lnTo>
                  <a:lnTo>
                    <a:pt x="664" y="0"/>
                  </a:lnTo>
                  <a:lnTo>
                    <a:pt x="640" y="8"/>
                  </a:lnTo>
                  <a:lnTo>
                    <a:pt x="616" y="24"/>
                  </a:lnTo>
                  <a:lnTo>
                    <a:pt x="584" y="40"/>
                  </a:lnTo>
                  <a:lnTo>
                    <a:pt x="584" y="48"/>
                  </a:lnTo>
                  <a:lnTo>
                    <a:pt x="600" y="56"/>
                  </a:lnTo>
                  <a:lnTo>
                    <a:pt x="584" y="64"/>
                  </a:lnTo>
                  <a:lnTo>
                    <a:pt x="560" y="80"/>
                  </a:lnTo>
                  <a:lnTo>
                    <a:pt x="552" y="80"/>
                  </a:lnTo>
                  <a:lnTo>
                    <a:pt x="560" y="72"/>
                  </a:lnTo>
                  <a:lnTo>
                    <a:pt x="576" y="64"/>
                  </a:lnTo>
                  <a:lnTo>
                    <a:pt x="576" y="56"/>
                  </a:lnTo>
                  <a:lnTo>
                    <a:pt x="568" y="48"/>
                  </a:lnTo>
                  <a:lnTo>
                    <a:pt x="536" y="64"/>
                  </a:lnTo>
                  <a:lnTo>
                    <a:pt x="552" y="64"/>
                  </a:lnTo>
                  <a:lnTo>
                    <a:pt x="528" y="80"/>
                  </a:lnTo>
                  <a:lnTo>
                    <a:pt x="504" y="80"/>
                  </a:lnTo>
                  <a:lnTo>
                    <a:pt x="480" y="72"/>
                  </a:lnTo>
                  <a:lnTo>
                    <a:pt x="480" y="64"/>
                  </a:lnTo>
                  <a:lnTo>
                    <a:pt x="440" y="72"/>
                  </a:lnTo>
                  <a:lnTo>
                    <a:pt x="448" y="72"/>
                  </a:lnTo>
                  <a:lnTo>
                    <a:pt x="440" y="80"/>
                  </a:lnTo>
                  <a:lnTo>
                    <a:pt x="424" y="72"/>
                  </a:lnTo>
                  <a:lnTo>
                    <a:pt x="392" y="80"/>
                  </a:lnTo>
                  <a:lnTo>
                    <a:pt x="368" y="80"/>
                  </a:lnTo>
                  <a:lnTo>
                    <a:pt x="392" y="72"/>
                  </a:lnTo>
                  <a:lnTo>
                    <a:pt x="392" y="64"/>
                  </a:lnTo>
                  <a:lnTo>
                    <a:pt x="352" y="56"/>
                  </a:lnTo>
                  <a:lnTo>
                    <a:pt x="344" y="48"/>
                  </a:lnTo>
                  <a:lnTo>
                    <a:pt x="328" y="48"/>
                  </a:lnTo>
                  <a:lnTo>
                    <a:pt x="312" y="56"/>
                  </a:lnTo>
                  <a:lnTo>
                    <a:pt x="304" y="56"/>
                  </a:lnTo>
                  <a:lnTo>
                    <a:pt x="312" y="48"/>
                  </a:lnTo>
                  <a:lnTo>
                    <a:pt x="296" y="56"/>
                  </a:lnTo>
                  <a:lnTo>
                    <a:pt x="288" y="56"/>
                  </a:lnTo>
                  <a:lnTo>
                    <a:pt x="296" y="48"/>
                  </a:lnTo>
                  <a:lnTo>
                    <a:pt x="288" y="40"/>
                  </a:lnTo>
                  <a:lnTo>
                    <a:pt x="264" y="48"/>
                  </a:lnTo>
                  <a:lnTo>
                    <a:pt x="216" y="56"/>
                  </a:lnTo>
                  <a:lnTo>
                    <a:pt x="200" y="56"/>
                  </a:lnTo>
                  <a:lnTo>
                    <a:pt x="184" y="64"/>
                  </a:lnTo>
                  <a:lnTo>
                    <a:pt x="152" y="56"/>
                  </a:lnTo>
                  <a:lnTo>
                    <a:pt x="0" y="176"/>
                  </a:lnTo>
                  <a:lnTo>
                    <a:pt x="16" y="176"/>
                  </a:lnTo>
                  <a:lnTo>
                    <a:pt x="8" y="184"/>
                  </a:lnTo>
                  <a:lnTo>
                    <a:pt x="16" y="192"/>
                  </a:lnTo>
                  <a:lnTo>
                    <a:pt x="48" y="184"/>
                  </a:lnTo>
                  <a:lnTo>
                    <a:pt x="48" y="200"/>
                  </a:lnTo>
                  <a:lnTo>
                    <a:pt x="40" y="232"/>
                  </a:lnTo>
                  <a:lnTo>
                    <a:pt x="48" y="240"/>
                  </a:lnTo>
                  <a:lnTo>
                    <a:pt x="40" y="256"/>
                  </a:lnTo>
                  <a:lnTo>
                    <a:pt x="16" y="264"/>
                  </a:lnTo>
                  <a:lnTo>
                    <a:pt x="16" y="288"/>
                  </a:lnTo>
                  <a:lnTo>
                    <a:pt x="24" y="288"/>
                  </a:lnTo>
                  <a:lnTo>
                    <a:pt x="16" y="304"/>
                  </a:lnTo>
                  <a:lnTo>
                    <a:pt x="32" y="320"/>
                  </a:lnTo>
                  <a:lnTo>
                    <a:pt x="48" y="336"/>
                  </a:lnTo>
                  <a:lnTo>
                    <a:pt x="368" y="336"/>
                  </a:lnTo>
                  <a:lnTo>
                    <a:pt x="376" y="336"/>
                  </a:lnTo>
                  <a:lnTo>
                    <a:pt x="384" y="344"/>
                  </a:lnTo>
                  <a:lnTo>
                    <a:pt x="432" y="352"/>
                  </a:lnTo>
                  <a:lnTo>
                    <a:pt x="424" y="352"/>
                  </a:lnTo>
                  <a:lnTo>
                    <a:pt x="456" y="336"/>
                  </a:lnTo>
                  <a:lnTo>
                    <a:pt x="472" y="344"/>
                  </a:lnTo>
                  <a:lnTo>
                    <a:pt x="472" y="352"/>
                  </a:lnTo>
                  <a:lnTo>
                    <a:pt x="488" y="352"/>
                  </a:lnTo>
                  <a:lnTo>
                    <a:pt x="480" y="376"/>
                  </a:lnTo>
                  <a:lnTo>
                    <a:pt x="520" y="384"/>
                  </a:lnTo>
                  <a:lnTo>
                    <a:pt x="528" y="400"/>
                  </a:lnTo>
                  <a:lnTo>
                    <a:pt x="520" y="408"/>
                  </a:lnTo>
                  <a:lnTo>
                    <a:pt x="504" y="392"/>
                  </a:lnTo>
                  <a:lnTo>
                    <a:pt x="488" y="424"/>
                  </a:lnTo>
                  <a:lnTo>
                    <a:pt x="480" y="424"/>
                  </a:lnTo>
                  <a:lnTo>
                    <a:pt x="464" y="448"/>
                  </a:lnTo>
                  <a:lnTo>
                    <a:pt x="488" y="432"/>
                  </a:lnTo>
                  <a:lnTo>
                    <a:pt x="528" y="432"/>
                  </a:lnTo>
                  <a:lnTo>
                    <a:pt x="520" y="424"/>
                  </a:lnTo>
                  <a:lnTo>
                    <a:pt x="512" y="424"/>
                  </a:lnTo>
                  <a:lnTo>
                    <a:pt x="520" y="416"/>
                  </a:lnTo>
                  <a:lnTo>
                    <a:pt x="552" y="416"/>
                  </a:lnTo>
                  <a:lnTo>
                    <a:pt x="568" y="408"/>
                  </a:lnTo>
                  <a:lnTo>
                    <a:pt x="584" y="400"/>
                  </a:lnTo>
                  <a:lnTo>
                    <a:pt x="624" y="400"/>
                  </a:lnTo>
                  <a:lnTo>
                    <a:pt x="640" y="392"/>
                  </a:lnTo>
                  <a:lnTo>
                    <a:pt x="664" y="360"/>
                  </a:lnTo>
                  <a:lnTo>
                    <a:pt x="680" y="368"/>
                  </a:lnTo>
                  <a:lnTo>
                    <a:pt x="672" y="392"/>
                  </a:lnTo>
                  <a:lnTo>
                    <a:pt x="680" y="39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Freeform 122">
              <a:extLst>
                <a:ext uri="{FF2B5EF4-FFF2-40B4-BE49-F238E27FC236}">
                  <a16:creationId xmlns:a16="http://schemas.microsoft.com/office/drawing/2014/main" id="{F1ED9066-C964-434D-BB79-D567937AEF38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1179669" y="1733456"/>
              <a:ext cx="1395688" cy="556202"/>
            </a:xfrm>
            <a:custGeom>
              <a:avLst/>
              <a:gdLst>
                <a:gd name="T0" fmla="*/ 812577 w 512"/>
                <a:gd name="T1" fmla="*/ 266043 h 232"/>
                <a:gd name="T2" fmla="*/ 812577 w 512"/>
                <a:gd name="T3" fmla="*/ 295603 h 232"/>
                <a:gd name="T4" fmla="*/ 881732 w 512"/>
                <a:gd name="T5" fmla="*/ 310384 h 232"/>
                <a:gd name="T6" fmla="*/ 881732 w 512"/>
                <a:gd name="T7" fmla="*/ 384284 h 232"/>
                <a:gd name="T8" fmla="*/ 847155 w 512"/>
                <a:gd name="T9" fmla="*/ 413845 h 232"/>
                <a:gd name="T10" fmla="*/ 829866 w 512"/>
                <a:gd name="T11" fmla="*/ 384284 h 232"/>
                <a:gd name="T12" fmla="*/ 829866 w 512"/>
                <a:gd name="T13" fmla="*/ 369504 h 232"/>
                <a:gd name="T14" fmla="*/ 812577 w 512"/>
                <a:gd name="T15" fmla="*/ 413845 h 232"/>
                <a:gd name="T16" fmla="*/ 812577 w 512"/>
                <a:gd name="T17" fmla="*/ 369504 h 232"/>
                <a:gd name="T18" fmla="*/ 812577 w 512"/>
                <a:gd name="T19" fmla="*/ 354724 h 232"/>
                <a:gd name="T20" fmla="*/ 847155 w 512"/>
                <a:gd name="T21" fmla="*/ 354724 h 232"/>
                <a:gd name="T22" fmla="*/ 812577 w 512"/>
                <a:gd name="T23" fmla="*/ 354724 h 232"/>
                <a:gd name="T24" fmla="*/ 829866 w 512"/>
                <a:gd name="T25" fmla="*/ 325164 h 232"/>
                <a:gd name="T26" fmla="*/ 812577 w 512"/>
                <a:gd name="T27" fmla="*/ 325164 h 232"/>
                <a:gd name="T28" fmla="*/ 795288 w 512"/>
                <a:gd name="T29" fmla="*/ 280823 h 232"/>
                <a:gd name="T30" fmla="*/ 691555 w 512"/>
                <a:gd name="T31" fmla="*/ 280823 h 232"/>
                <a:gd name="T32" fmla="*/ 622399 w 512"/>
                <a:gd name="T33" fmla="*/ 251263 h 232"/>
                <a:gd name="T34" fmla="*/ 484088 w 512"/>
                <a:gd name="T35" fmla="*/ 295603 h 232"/>
                <a:gd name="T36" fmla="*/ 605111 w 512"/>
                <a:gd name="T37" fmla="*/ 251263 h 232"/>
                <a:gd name="T38" fmla="*/ 449511 w 512"/>
                <a:gd name="T39" fmla="*/ 295603 h 232"/>
                <a:gd name="T40" fmla="*/ 432222 w 512"/>
                <a:gd name="T41" fmla="*/ 310384 h 232"/>
                <a:gd name="T42" fmla="*/ 293911 w 512"/>
                <a:gd name="T43" fmla="*/ 354724 h 232"/>
                <a:gd name="T44" fmla="*/ 0 w 512"/>
                <a:gd name="T45" fmla="*/ 428625 h 232"/>
                <a:gd name="T46" fmla="*/ 328489 w 512"/>
                <a:gd name="T47" fmla="*/ 310384 h 232"/>
                <a:gd name="T48" fmla="*/ 242044 w 512"/>
                <a:gd name="T49" fmla="*/ 310384 h 232"/>
                <a:gd name="T50" fmla="*/ 224755 w 512"/>
                <a:gd name="T51" fmla="*/ 280823 h 232"/>
                <a:gd name="T52" fmla="*/ 328489 w 512"/>
                <a:gd name="T53" fmla="*/ 206922 h 232"/>
                <a:gd name="T54" fmla="*/ 484088 w 512"/>
                <a:gd name="T55" fmla="*/ 147802 h 232"/>
                <a:gd name="T56" fmla="*/ 380355 w 512"/>
                <a:gd name="T57" fmla="*/ 162582 h 232"/>
                <a:gd name="T58" fmla="*/ 380355 w 512"/>
                <a:gd name="T59" fmla="*/ 147802 h 232"/>
                <a:gd name="T60" fmla="*/ 466800 w 512"/>
                <a:gd name="T61" fmla="*/ 118241 h 232"/>
                <a:gd name="T62" fmla="*/ 466800 w 512"/>
                <a:gd name="T63" fmla="*/ 118241 h 232"/>
                <a:gd name="T64" fmla="*/ 518666 w 512"/>
                <a:gd name="T65" fmla="*/ 103461 h 232"/>
                <a:gd name="T66" fmla="*/ 518666 w 512"/>
                <a:gd name="T67" fmla="*/ 73901 h 232"/>
                <a:gd name="T68" fmla="*/ 605111 w 512"/>
                <a:gd name="T69" fmla="*/ 59121 h 232"/>
                <a:gd name="T70" fmla="*/ 847155 w 512"/>
                <a:gd name="T71" fmla="*/ 0 h 232"/>
                <a:gd name="T72" fmla="*/ 864444 w 512"/>
                <a:gd name="T73" fmla="*/ 14780 h 232"/>
                <a:gd name="T74" fmla="*/ 916310 w 512"/>
                <a:gd name="T75" fmla="*/ 14780 h 232"/>
                <a:gd name="T76" fmla="*/ 1106488 w 512"/>
                <a:gd name="T77" fmla="*/ 44341 h 23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12"/>
                <a:gd name="T118" fmla="*/ 0 h 232"/>
                <a:gd name="T119" fmla="*/ 512 w 512"/>
                <a:gd name="T120" fmla="*/ 232 h 23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12" h="232">
                  <a:moveTo>
                    <a:pt x="360" y="144"/>
                  </a:moveTo>
                  <a:lnTo>
                    <a:pt x="376" y="144"/>
                  </a:lnTo>
                  <a:lnTo>
                    <a:pt x="368" y="152"/>
                  </a:lnTo>
                  <a:lnTo>
                    <a:pt x="376" y="160"/>
                  </a:lnTo>
                  <a:lnTo>
                    <a:pt x="408" y="152"/>
                  </a:lnTo>
                  <a:lnTo>
                    <a:pt x="408" y="168"/>
                  </a:lnTo>
                  <a:lnTo>
                    <a:pt x="400" y="200"/>
                  </a:lnTo>
                  <a:lnTo>
                    <a:pt x="408" y="208"/>
                  </a:lnTo>
                  <a:lnTo>
                    <a:pt x="400" y="224"/>
                  </a:lnTo>
                  <a:lnTo>
                    <a:pt x="392" y="224"/>
                  </a:lnTo>
                  <a:lnTo>
                    <a:pt x="384" y="224"/>
                  </a:lnTo>
                  <a:lnTo>
                    <a:pt x="384" y="208"/>
                  </a:lnTo>
                  <a:lnTo>
                    <a:pt x="392" y="208"/>
                  </a:lnTo>
                  <a:lnTo>
                    <a:pt x="384" y="200"/>
                  </a:lnTo>
                  <a:lnTo>
                    <a:pt x="384" y="216"/>
                  </a:lnTo>
                  <a:lnTo>
                    <a:pt x="376" y="224"/>
                  </a:lnTo>
                  <a:lnTo>
                    <a:pt x="368" y="216"/>
                  </a:lnTo>
                  <a:lnTo>
                    <a:pt x="376" y="200"/>
                  </a:lnTo>
                  <a:lnTo>
                    <a:pt x="368" y="200"/>
                  </a:lnTo>
                  <a:lnTo>
                    <a:pt x="376" y="192"/>
                  </a:lnTo>
                  <a:lnTo>
                    <a:pt x="384" y="192"/>
                  </a:lnTo>
                  <a:lnTo>
                    <a:pt x="392" y="192"/>
                  </a:lnTo>
                  <a:lnTo>
                    <a:pt x="392" y="184"/>
                  </a:lnTo>
                  <a:lnTo>
                    <a:pt x="376" y="192"/>
                  </a:lnTo>
                  <a:lnTo>
                    <a:pt x="392" y="168"/>
                  </a:lnTo>
                  <a:lnTo>
                    <a:pt x="384" y="176"/>
                  </a:lnTo>
                  <a:lnTo>
                    <a:pt x="360" y="200"/>
                  </a:lnTo>
                  <a:lnTo>
                    <a:pt x="376" y="176"/>
                  </a:lnTo>
                  <a:lnTo>
                    <a:pt x="360" y="160"/>
                  </a:lnTo>
                  <a:lnTo>
                    <a:pt x="368" y="152"/>
                  </a:lnTo>
                  <a:lnTo>
                    <a:pt x="352" y="152"/>
                  </a:lnTo>
                  <a:lnTo>
                    <a:pt x="320" y="152"/>
                  </a:lnTo>
                  <a:lnTo>
                    <a:pt x="304" y="136"/>
                  </a:lnTo>
                  <a:lnTo>
                    <a:pt x="288" y="136"/>
                  </a:lnTo>
                  <a:lnTo>
                    <a:pt x="264" y="152"/>
                  </a:lnTo>
                  <a:lnTo>
                    <a:pt x="224" y="160"/>
                  </a:lnTo>
                  <a:lnTo>
                    <a:pt x="256" y="136"/>
                  </a:lnTo>
                  <a:lnTo>
                    <a:pt x="280" y="136"/>
                  </a:lnTo>
                  <a:lnTo>
                    <a:pt x="272" y="136"/>
                  </a:lnTo>
                  <a:lnTo>
                    <a:pt x="208" y="160"/>
                  </a:lnTo>
                  <a:lnTo>
                    <a:pt x="200" y="160"/>
                  </a:lnTo>
                  <a:lnTo>
                    <a:pt x="200" y="168"/>
                  </a:lnTo>
                  <a:lnTo>
                    <a:pt x="192" y="168"/>
                  </a:lnTo>
                  <a:lnTo>
                    <a:pt x="136" y="192"/>
                  </a:lnTo>
                  <a:lnTo>
                    <a:pt x="96" y="208"/>
                  </a:lnTo>
                  <a:lnTo>
                    <a:pt x="0" y="232"/>
                  </a:lnTo>
                  <a:lnTo>
                    <a:pt x="136" y="184"/>
                  </a:lnTo>
                  <a:lnTo>
                    <a:pt x="152" y="168"/>
                  </a:lnTo>
                  <a:lnTo>
                    <a:pt x="136" y="168"/>
                  </a:lnTo>
                  <a:lnTo>
                    <a:pt x="112" y="168"/>
                  </a:lnTo>
                  <a:lnTo>
                    <a:pt x="128" y="152"/>
                  </a:lnTo>
                  <a:lnTo>
                    <a:pt x="104" y="152"/>
                  </a:lnTo>
                  <a:lnTo>
                    <a:pt x="112" y="128"/>
                  </a:lnTo>
                  <a:lnTo>
                    <a:pt x="152" y="112"/>
                  </a:lnTo>
                  <a:lnTo>
                    <a:pt x="200" y="104"/>
                  </a:lnTo>
                  <a:lnTo>
                    <a:pt x="224" y="80"/>
                  </a:lnTo>
                  <a:lnTo>
                    <a:pt x="200" y="88"/>
                  </a:lnTo>
                  <a:lnTo>
                    <a:pt x="176" y="88"/>
                  </a:lnTo>
                  <a:lnTo>
                    <a:pt x="168" y="88"/>
                  </a:lnTo>
                  <a:lnTo>
                    <a:pt x="176" y="80"/>
                  </a:lnTo>
                  <a:lnTo>
                    <a:pt x="168" y="72"/>
                  </a:lnTo>
                  <a:lnTo>
                    <a:pt x="216" y="64"/>
                  </a:lnTo>
                  <a:lnTo>
                    <a:pt x="224" y="64"/>
                  </a:lnTo>
                  <a:lnTo>
                    <a:pt x="216" y="64"/>
                  </a:lnTo>
                  <a:lnTo>
                    <a:pt x="248" y="64"/>
                  </a:lnTo>
                  <a:lnTo>
                    <a:pt x="240" y="56"/>
                  </a:lnTo>
                  <a:lnTo>
                    <a:pt x="248" y="48"/>
                  </a:lnTo>
                  <a:lnTo>
                    <a:pt x="240" y="40"/>
                  </a:lnTo>
                  <a:lnTo>
                    <a:pt x="248" y="32"/>
                  </a:lnTo>
                  <a:lnTo>
                    <a:pt x="280" y="32"/>
                  </a:lnTo>
                  <a:lnTo>
                    <a:pt x="320" y="16"/>
                  </a:lnTo>
                  <a:lnTo>
                    <a:pt x="392" y="0"/>
                  </a:lnTo>
                  <a:lnTo>
                    <a:pt x="400" y="0"/>
                  </a:lnTo>
                  <a:lnTo>
                    <a:pt x="400" y="8"/>
                  </a:lnTo>
                  <a:lnTo>
                    <a:pt x="416" y="8"/>
                  </a:lnTo>
                  <a:lnTo>
                    <a:pt x="424" y="8"/>
                  </a:lnTo>
                  <a:lnTo>
                    <a:pt x="496" y="16"/>
                  </a:lnTo>
                  <a:lnTo>
                    <a:pt x="512" y="24"/>
                  </a:lnTo>
                  <a:lnTo>
                    <a:pt x="360" y="144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Freeform 123">
              <a:extLst>
                <a:ext uri="{FF2B5EF4-FFF2-40B4-BE49-F238E27FC236}">
                  <a16:creationId xmlns:a16="http://schemas.microsoft.com/office/drawing/2014/main" id="{F3EA9D01-EF79-4040-90EC-386D22B61173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2116802" y="3053921"/>
              <a:ext cx="961162" cy="650962"/>
            </a:xfrm>
            <a:custGeom>
              <a:avLst/>
              <a:gdLst>
                <a:gd name="T0" fmla="*/ 0 w 352"/>
                <a:gd name="T1" fmla="*/ 88526 h 272"/>
                <a:gd name="T2" fmla="*/ 17318 w 352"/>
                <a:gd name="T3" fmla="*/ 132790 h 272"/>
                <a:gd name="T4" fmla="*/ 17318 w 352"/>
                <a:gd name="T5" fmla="*/ 147544 h 272"/>
                <a:gd name="T6" fmla="*/ 69273 w 352"/>
                <a:gd name="T7" fmla="*/ 191807 h 272"/>
                <a:gd name="T8" fmla="*/ 103909 w 352"/>
                <a:gd name="T9" fmla="*/ 250825 h 272"/>
                <a:gd name="T10" fmla="*/ 121227 w 352"/>
                <a:gd name="T11" fmla="*/ 265579 h 272"/>
                <a:gd name="T12" fmla="*/ 86591 w 352"/>
                <a:gd name="T13" fmla="*/ 177053 h 272"/>
                <a:gd name="T14" fmla="*/ 51955 w 352"/>
                <a:gd name="T15" fmla="*/ 29509 h 272"/>
                <a:gd name="T16" fmla="*/ 86591 w 352"/>
                <a:gd name="T17" fmla="*/ 44263 h 272"/>
                <a:gd name="T18" fmla="*/ 121227 w 352"/>
                <a:gd name="T19" fmla="*/ 132790 h 272"/>
                <a:gd name="T20" fmla="*/ 155864 w 352"/>
                <a:gd name="T21" fmla="*/ 177053 h 272"/>
                <a:gd name="T22" fmla="*/ 173182 w 352"/>
                <a:gd name="T23" fmla="*/ 206562 h 272"/>
                <a:gd name="T24" fmla="*/ 242455 w 352"/>
                <a:gd name="T25" fmla="*/ 309843 h 272"/>
                <a:gd name="T26" fmla="*/ 225136 w 352"/>
                <a:gd name="T27" fmla="*/ 354106 h 272"/>
                <a:gd name="T28" fmla="*/ 311727 w 352"/>
                <a:gd name="T29" fmla="*/ 413123 h 272"/>
                <a:gd name="T30" fmla="*/ 415636 w 352"/>
                <a:gd name="T31" fmla="*/ 457387 h 272"/>
                <a:gd name="T32" fmla="*/ 484909 w 352"/>
                <a:gd name="T33" fmla="*/ 457387 h 272"/>
                <a:gd name="T34" fmla="*/ 571500 w 352"/>
                <a:gd name="T35" fmla="*/ 501650 h 272"/>
                <a:gd name="T36" fmla="*/ 623455 w 352"/>
                <a:gd name="T37" fmla="*/ 457387 h 272"/>
                <a:gd name="T38" fmla="*/ 623455 w 352"/>
                <a:gd name="T39" fmla="*/ 413123 h 272"/>
                <a:gd name="T40" fmla="*/ 692727 w 352"/>
                <a:gd name="T41" fmla="*/ 398369 h 272"/>
                <a:gd name="T42" fmla="*/ 710045 w 352"/>
                <a:gd name="T43" fmla="*/ 398369 h 272"/>
                <a:gd name="T44" fmla="*/ 727364 w 352"/>
                <a:gd name="T45" fmla="*/ 309843 h 272"/>
                <a:gd name="T46" fmla="*/ 640773 w 352"/>
                <a:gd name="T47" fmla="*/ 368860 h 272"/>
                <a:gd name="T48" fmla="*/ 623455 w 352"/>
                <a:gd name="T49" fmla="*/ 398369 h 272"/>
                <a:gd name="T50" fmla="*/ 588818 w 352"/>
                <a:gd name="T51" fmla="*/ 398369 h 272"/>
                <a:gd name="T52" fmla="*/ 484909 w 352"/>
                <a:gd name="T53" fmla="*/ 368860 h 272"/>
                <a:gd name="T54" fmla="*/ 467591 w 352"/>
                <a:gd name="T55" fmla="*/ 236071 h 272"/>
                <a:gd name="T56" fmla="*/ 432955 w 352"/>
                <a:gd name="T57" fmla="*/ 177053 h 272"/>
                <a:gd name="T58" fmla="*/ 363682 w 352"/>
                <a:gd name="T59" fmla="*/ 73772 h 272"/>
                <a:gd name="T60" fmla="*/ 329045 w 352"/>
                <a:gd name="T61" fmla="*/ 103281 h 272"/>
                <a:gd name="T62" fmla="*/ 311727 w 352"/>
                <a:gd name="T63" fmla="*/ 59018 h 272"/>
                <a:gd name="T64" fmla="*/ 155864 w 352"/>
                <a:gd name="T65" fmla="*/ 44263 h 272"/>
                <a:gd name="T66" fmla="*/ 0 w 352"/>
                <a:gd name="T67" fmla="*/ 0 h 27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52"/>
                <a:gd name="T103" fmla="*/ 0 h 272"/>
                <a:gd name="T104" fmla="*/ 352 w 352"/>
                <a:gd name="T105" fmla="*/ 272 h 27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52" h="272">
                  <a:moveTo>
                    <a:pt x="0" y="0"/>
                  </a:moveTo>
                  <a:lnTo>
                    <a:pt x="0" y="48"/>
                  </a:lnTo>
                  <a:lnTo>
                    <a:pt x="16" y="64"/>
                  </a:lnTo>
                  <a:lnTo>
                    <a:pt x="8" y="72"/>
                  </a:lnTo>
                  <a:lnTo>
                    <a:pt x="0" y="72"/>
                  </a:lnTo>
                  <a:lnTo>
                    <a:pt x="8" y="80"/>
                  </a:lnTo>
                  <a:lnTo>
                    <a:pt x="32" y="96"/>
                  </a:lnTo>
                  <a:lnTo>
                    <a:pt x="32" y="104"/>
                  </a:lnTo>
                  <a:lnTo>
                    <a:pt x="24" y="120"/>
                  </a:lnTo>
                  <a:lnTo>
                    <a:pt x="48" y="136"/>
                  </a:lnTo>
                  <a:lnTo>
                    <a:pt x="48" y="152"/>
                  </a:lnTo>
                  <a:lnTo>
                    <a:pt x="56" y="144"/>
                  </a:lnTo>
                  <a:lnTo>
                    <a:pt x="48" y="128"/>
                  </a:lnTo>
                  <a:lnTo>
                    <a:pt x="40" y="96"/>
                  </a:lnTo>
                  <a:lnTo>
                    <a:pt x="16" y="40"/>
                  </a:lnTo>
                  <a:lnTo>
                    <a:pt x="24" y="16"/>
                  </a:lnTo>
                  <a:lnTo>
                    <a:pt x="40" y="16"/>
                  </a:lnTo>
                  <a:lnTo>
                    <a:pt x="40" y="24"/>
                  </a:lnTo>
                  <a:lnTo>
                    <a:pt x="48" y="56"/>
                  </a:lnTo>
                  <a:lnTo>
                    <a:pt x="56" y="72"/>
                  </a:lnTo>
                  <a:lnTo>
                    <a:pt x="56" y="80"/>
                  </a:lnTo>
                  <a:lnTo>
                    <a:pt x="72" y="96"/>
                  </a:lnTo>
                  <a:lnTo>
                    <a:pt x="64" y="104"/>
                  </a:lnTo>
                  <a:lnTo>
                    <a:pt x="80" y="112"/>
                  </a:lnTo>
                  <a:lnTo>
                    <a:pt x="104" y="152"/>
                  </a:lnTo>
                  <a:lnTo>
                    <a:pt x="112" y="168"/>
                  </a:lnTo>
                  <a:lnTo>
                    <a:pt x="96" y="184"/>
                  </a:lnTo>
                  <a:lnTo>
                    <a:pt x="104" y="192"/>
                  </a:lnTo>
                  <a:lnTo>
                    <a:pt x="120" y="216"/>
                  </a:lnTo>
                  <a:lnTo>
                    <a:pt x="144" y="224"/>
                  </a:lnTo>
                  <a:lnTo>
                    <a:pt x="152" y="232"/>
                  </a:lnTo>
                  <a:lnTo>
                    <a:pt x="192" y="248"/>
                  </a:lnTo>
                  <a:lnTo>
                    <a:pt x="208" y="256"/>
                  </a:lnTo>
                  <a:lnTo>
                    <a:pt x="224" y="248"/>
                  </a:lnTo>
                  <a:lnTo>
                    <a:pt x="240" y="248"/>
                  </a:lnTo>
                  <a:lnTo>
                    <a:pt x="264" y="272"/>
                  </a:lnTo>
                  <a:lnTo>
                    <a:pt x="280" y="248"/>
                  </a:lnTo>
                  <a:lnTo>
                    <a:pt x="288" y="248"/>
                  </a:lnTo>
                  <a:lnTo>
                    <a:pt x="280" y="232"/>
                  </a:lnTo>
                  <a:lnTo>
                    <a:pt x="288" y="224"/>
                  </a:lnTo>
                  <a:lnTo>
                    <a:pt x="312" y="224"/>
                  </a:lnTo>
                  <a:lnTo>
                    <a:pt x="320" y="216"/>
                  </a:lnTo>
                  <a:lnTo>
                    <a:pt x="328" y="224"/>
                  </a:lnTo>
                  <a:lnTo>
                    <a:pt x="328" y="216"/>
                  </a:lnTo>
                  <a:lnTo>
                    <a:pt x="352" y="168"/>
                  </a:lnTo>
                  <a:lnTo>
                    <a:pt x="336" y="168"/>
                  </a:lnTo>
                  <a:lnTo>
                    <a:pt x="304" y="176"/>
                  </a:lnTo>
                  <a:lnTo>
                    <a:pt x="296" y="200"/>
                  </a:lnTo>
                  <a:lnTo>
                    <a:pt x="280" y="208"/>
                  </a:lnTo>
                  <a:lnTo>
                    <a:pt x="288" y="216"/>
                  </a:lnTo>
                  <a:lnTo>
                    <a:pt x="280" y="216"/>
                  </a:lnTo>
                  <a:lnTo>
                    <a:pt x="272" y="216"/>
                  </a:lnTo>
                  <a:lnTo>
                    <a:pt x="240" y="216"/>
                  </a:lnTo>
                  <a:lnTo>
                    <a:pt x="224" y="200"/>
                  </a:lnTo>
                  <a:lnTo>
                    <a:pt x="208" y="152"/>
                  </a:lnTo>
                  <a:lnTo>
                    <a:pt x="216" y="128"/>
                  </a:lnTo>
                  <a:lnTo>
                    <a:pt x="224" y="104"/>
                  </a:lnTo>
                  <a:lnTo>
                    <a:pt x="200" y="96"/>
                  </a:lnTo>
                  <a:lnTo>
                    <a:pt x="184" y="48"/>
                  </a:lnTo>
                  <a:lnTo>
                    <a:pt x="168" y="40"/>
                  </a:lnTo>
                  <a:lnTo>
                    <a:pt x="160" y="56"/>
                  </a:lnTo>
                  <a:lnTo>
                    <a:pt x="152" y="56"/>
                  </a:lnTo>
                  <a:lnTo>
                    <a:pt x="144" y="40"/>
                  </a:lnTo>
                  <a:lnTo>
                    <a:pt x="144" y="32"/>
                  </a:lnTo>
                  <a:lnTo>
                    <a:pt x="136" y="16"/>
                  </a:lnTo>
                  <a:lnTo>
                    <a:pt x="72" y="24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Freeform 124">
              <a:extLst>
                <a:ext uri="{FF2B5EF4-FFF2-40B4-BE49-F238E27FC236}">
                  <a16:creationId xmlns:a16="http://schemas.microsoft.com/office/drawing/2014/main" id="{2DF6591A-C635-4CD8-9ABC-16609BA0C7F4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2008671" y="2460639"/>
              <a:ext cx="2006425" cy="861083"/>
            </a:xfrm>
            <a:custGeom>
              <a:avLst/>
              <a:gdLst>
                <a:gd name="T0" fmla="*/ 657018 w 736"/>
                <a:gd name="T1" fmla="*/ 545606 h 360"/>
                <a:gd name="T2" fmla="*/ 691598 w 736"/>
                <a:gd name="T3" fmla="*/ 545606 h 360"/>
                <a:gd name="T4" fmla="*/ 760758 w 736"/>
                <a:gd name="T5" fmla="*/ 560352 h 360"/>
                <a:gd name="T6" fmla="*/ 829917 w 736"/>
                <a:gd name="T7" fmla="*/ 560352 h 360"/>
                <a:gd name="T8" fmla="*/ 795338 w 736"/>
                <a:gd name="T9" fmla="*/ 530860 h 360"/>
                <a:gd name="T10" fmla="*/ 864497 w 736"/>
                <a:gd name="T11" fmla="*/ 516114 h 360"/>
                <a:gd name="T12" fmla="*/ 933657 w 736"/>
                <a:gd name="T13" fmla="*/ 545606 h 360"/>
                <a:gd name="T14" fmla="*/ 1002817 w 736"/>
                <a:gd name="T15" fmla="*/ 619337 h 360"/>
                <a:gd name="T16" fmla="*/ 1054687 w 736"/>
                <a:gd name="T17" fmla="*/ 648829 h 360"/>
                <a:gd name="T18" fmla="*/ 1089266 w 736"/>
                <a:gd name="T19" fmla="*/ 457129 h 360"/>
                <a:gd name="T20" fmla="*/ 1227586 w 736"/>
                <a:gd name="T21" fmla="*/ 368653 h 360"/>
                <a:gd name="T22" fmla="*/ 1244876 w 736"/>
                <a:gd name="T23" fmla="*/ 339161 h 360"/>
                <a:gd name="T24" fmla="*/ 1262166 w 736"/>
                <a:gd name="T25" fmla="*/ 309668 h 360"/>
                <a:gd name="T26" fmla="*/ 1279456 w 736"/>
                <a:gd name="T27" fmla="*/ 294922 h 360"/>
                <a:gd name="T28" fmla="*/ 1296746 w 736"/>
                <a:gd name="T29" fmla="*/ 294922 h 360"/>
                <a:gd name="T30" fmla="*/ 1331326 w 736"/>
                <a:gd name="T31" fmla="*/ 265430 h 360"/>
                <a:gd name="T32" fmla="*/ 1435066 w 736"/>
                <a:gd name="T33" fmla="*/ 206446 h 360"/>
                <a:gd name="T34" fmla="*/ 1452355 w 736"/>
                <a:gd name="T35" fmla="*/ 206446 h 360"/>
                <a:gd name="T36" fmla="*/ 1538805 w 736"/>
                <a:gd name="T37" fmla="*/ 132715 h 360"/>
                <a:gd name="T38" fmla="*/ 1573385 w 736"/>
                <a:gd name="T39" fmla="*/ 103223 h 360"/>
                <a:gd name="T40" fmla="*/ 1504225 w 736"/>
                <a:gd name="T41" fmla="*/ 103223 h 360"/>
                <a:gd name="T42" fmla="*/ 1348616 w 736"/>
                <a:gd name="T43" fmla="*/ 132715 h 360"/>
                <a:gd name="T44" fmla="*/ 1262166 w 736"/>
                <a:gd name="T45" fmla="*/ 176953 h 360"/>
                <a:gd name="T46" fmla="*/ 1158427 w 736"/>
                <a:gd name="T47" fmla="*/ 162207 h 360"/>
                <a:gd name="T48" fmla="*/ 1158427 w 736"/>
                <a:gd name="T49" fmla="*/ 132715 h 360"/>
                <a:gd name="T50" fmla="*/ 1089266 w 736"/>
                <a:gd name="T51" fmla="*/ 117969 h 360"/>
                <a:gd name="T52" fmla="*/ 1020107 w 736"/>
                <a:gd name="T53" fmla="*/ 206446 h 360"/>
                <a:gd name="T54" fmla="*/ 1020107 w 736"/>
                <a:gd name="T55" fmla="*/ 162207 h 360"/>
                <a:gd name="T56" fmla="*/ 1089266 w 736"/>
                <a:gd name="T57" fmla="*/ 88477 h 360"/>
                <a:gd name="T58" fmla="*/ 1141137 w 736"/>
                <a:gd name="T59" fmla="*/ 73731 h 360"/>
                <a:gd name="T60" fmla="*/ 1089266 w 736"/>
                <a:gd name="T61" fmla="*/ 58984 h 360"/>
                <a:gd name="T62" fmla="*/ 1002817 w 736"/>
                <a:gd name="T63" fmla="*/ 73731 h 360"/>
                <a:gd name="T64" fmla="*/ 1037397 w 736"/>
                <a:gd name="T65" fmla="*/ 29492 h 360"/>
                <a:gd name="T66" fmla="*/ 933657 w 736"/>
                <a:gd name="T67" fmla="*/ 0 h 360"/>
                <a:gd name="T68" fmla="*/ 224769 w 736"/>
                <a:gd name="T69" fmla="*/ 14746 h 360"/>
                <a:gd name="T70" fmla="*/ 207479 w 736"/>
                <a:gd name="T71" fmla="*/ 29492 h 360"/>
                <a:gd name="T72" fmla="*/ 138320 w 736"/>
                <a:gd name="T73" fmla="*/ 88477 h 360"/>
                <a:gd name="T74" fmla="*/ 17290 w 736"/>
                <a:gd name="T75" fmla="*/ 250684 h 360"/>
                <a:gd name="T76" fmla="*/ 17290 w 736"/>
                <a:gd name="T77" fmla="*/ 294922 h 360"/>
                <a:gd name="T78" fmla="*/ 17290 w 736"/>
                <a:gd name="T79" fmla="*/ 324414 h 360"/>
                <a:gd name="T80" fmla="*/ 34580 w 736"/>
                <a:gd name="T81" fmla="*/ 383399 h 360"/>
                <a:gd name="T82" fmla="*/ 69160 w 736"/>
                <a:gd name="T83" fmla="*/ 427637 h 360"/>
                <a:gd name="T84" fmla="*/ 155610 w 736"/>
                <a:gd name="T85" fmla="*/ 457129 h 360"/>
                <a:gd name="T86" fmla="*/ 397669 w 736"/>
                <a:gd name="T87" fmla="*/ 516114 h 360"/>
                <a:gd name="T88" fmla="*/ 432249 w 736"/>
                <a:gd name="T89" fmla="*/ 560352 h 360"/>
                <a:gd name="T90" fmla="*/ 518698 w 736"/>
                <a:gd name="T91" fmla="*/ 634083 h 36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6"/>
                <a:gd name="T139" fmla="*/ 0 h 360"/>
                <a:gd name="T140" fmla="*/ 736 w 736"/>
                <a:gd name="T141" fmla="*/ 360 h 36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6" h="360">
                  <a:moveTo>
                    <a:pt x="272" y="320"/>
                  </a:moveTo>
                  <a:lnTo>
                    <a:pt x="312" y="296"/>
                  </a:lnTo>
                  <a:lnTo>
                    <a:pt x="304" y="296"/>
                  </a:lnTo>
                  <a:lnTo>
                    <a:pt x="312" y="288"/>
                  </a:lnTo>
                  <a:lnTo>
                    <a:pt x="312" y="296"/>
                  </a:lnTo>
                  <a:lnTo>
                    <a:pt x="320" y="296"/>
                  </a:lnTo>
                  <a:lnTo>
                    <a:pt x="344" y="296"/>
                  </a:lnTo>
                  <a:lnTo>
                    <a:pt x="352" y="288"/>
                  </a:lnTo>
                  <a:lnTo>
                    <a:pt x="352" y="304"/>
                  </a:lnTo>
                  <a:lnTo>
                    <a:pt x="376" y="296"/>
                  </a:lnTo>
                  <a:lnTo>
                    <a:pt x="376" y="304"/>
                  </a:lnTo>
                  <a:lnTo>
                    <a:pt x="384" y="304"/>
                  </a:lnTo>
                  <a:lnTo>
                    <a:pt x="376" y="296"/>
                  </a:lnTo>
                  <a:lnTo>
                    <a:pt x="384" y="288"/>
                  </a:lnTo>
                  <a:lnTo>
                    <a:pt x="368" y="288"/>
                  </a:lnTo>
                  <a:lnTo>
                    <a:pt x="376" y="280"/>
                  </a:lnTo>
                  <a:lnTo>
                    <a:pt x="376" y="288"/>
                  </a:lnTo>
                  <a:lnTo>
                    <a:pt x="400" y="280"/>
                  </a:lnTo>
                  <a:lnTo>
                    <a:pt x="424" y="280"/>
                  </a:lnTo>
                  <a:lnTo>
                    <a:pt x="432" y="288"/>
                  </a:lnTo>
                  <a:lnTo>
                    <a:pt x="432" y="296"/>
                  </a:lnTo>
                  <a:lnTo>
                    <a:pt x="456" y="288"/>
                  </a:lnTo>
                  <a:lnTo>
                    <a:pt x="464" y="304"/>
                  </a:lnTo>
                  <a:lnTo>
                    <a:pt x="464" y="336"/>
                  </a:lnTo>
                  <a:lnTo>
                    <a:pt x="472" y="360"/>
                  </a:lnTo>
                  <a:lnTo>
                    <a:pt x="480" y="360"/>
                  </a:lnTo>
                  <a:lnTo>
                    <a:pt x="488" y="352"/>
                  </a:lnTo>
                  <a:lnTo>
                    <a:pt x="488" y="336"/>
                  </a:lnTo>
                  <a:lnTo>
                    <a:pt x="488" y="272"/>
                  </a:lnTo>
                  <a:lnTo>
                    <a:pt x="504" y="248"/>
                  </a:lnTo>
                  <a:lnTo>
                    <a:pt x="576" y="208"/>
                  </a:lnTo>
                  <a:lnTo>
                    <a:pt x="584" y="200"/>
                  </a:lnTo>
                  <a:lnTo>
                    <a:pt x="568" y="200"/>
                  </a:lnTo>
                  <a:lnTo>
                    <a:pt x="576" y="192"/>
                  </a:lnTo>
                  <a:lnTo>
                    <a:pt x="584" y="200"/>
                  </a:lnTo>
                  <a:lnTo>
                    <a:pt x="576" y="184"/>
                  </a:lnTo>
                  <a:lnTo>
                    <a:pt x="584" y="168"/>
                  </a:lnTo>
                  <a:lnTo>
                    <a:pt x="576" y="160"/>
                  </a:lnTo>
                  <a:lnTo>
                    <a:pt x="584" y="168"/>
                  </a:lnTo>
                  <a:lnTo>
                    <a:pt x="592" y="144"/>
                  </a:lnTo>
                  <a:lnTo>
                    <a:pt x="584" y="160"/>
                  </a:lnTo>
                  <a:lnTo>
                    <a:pt x="592" y="160"/>
                  </a:lnTo>
                  <a:lnTo>
                    <a:pt x="592" y="168"/>
                  </a:lnTo>
                  <a:lnTo>
                    <a:pt x="584" y="176"/>
                  </a:lnTo>
                  <a:lnTo>
                    <a:pt x="600" y="160"/>
                  </a:lnTo>
                  <a:lnTo>
                    <a:pt x="600" y="144"/>
                  </a:lnTo>
                  <a:lnTo>
                    <a:pt x="608" y="152"/>
                  </a:lnTo>
                  <a:lnTo>
                    <a:pt x="616" y="144"/>
                  </a:lnTo>
                  <a:lnTo>
                    <a:pt x="624" y="128"/>
                  </a:lnTo>
                  <a:lnTo>
                    <a:pt x="664" y="120"/>
                  </a:lnTo>
                  <a:lnTo>
                    <a:pt x="664" y="112"/>
                  </a:lnTo>
                  <a:lnTo>
                    <a:pt x="680" y="112"/>
                  </a:lnTo>
                  <a:lnTo>
                    <a:pt x="680" y="104"/>
                  </a:lnTo>
                  <a:lnTo>
                    <a:pt x="672" y="112"/>
                  </a:lnTo>
                  <a:lnTo>
                    <a:pt x="672" y="104"/>
                  </a:lnTo>
                  <a:lnTo>
                    <a:pt x="688" y="80"/>
                  </a:lnTo>
                  <a:lnTo>
                    <a:pt x="712" y="72"/>
                  </a:lnTo>
                  <a:lnTo>
                    <a:pt x="728" y="72"/>
                  </a:lnTo>
                  <a:lnTo>
                    <a:pt x="736" y="56"/>
                  </a:lnTo>
                  <a:lnTo>
                    <a:pt x="728" y="56"/>
                  </a:lnTo>
                  <a:lnTo>
                    <a:pt x="736" y="32"/>
                  </a:lnTo>
                  <a:lnTo>
                    <a:pt x="720" y="24"/>
                  </a:lnTo>
                  <a:lnTo>
                    <a:pt x="696" y="56"/>
                  </a:lnTo>
                  <a:lnTo>
                    <a:pt x="680" y="64"/>
                  </a:lnTo>
                  <a:lnTo>
                    <a:pt x="640" y="64"/>
                  </a:lnTo>
                  <a:lnTo>
                    <a:pt x="624" y="72"/>
                  </a:lnTo>
                  <a:lnTo>
                    <a:pt x="616" y="88"/>
                  </a:lnTo>
                  <a:lnTo>
                    <a:pt x="576" y="88"/>
                  </a:lnTo>
                  <a:lnTo>
                    <a:pt x="584" y="96"/>
                  </a:lnTo>
                  <a:lnTo>
                    <a:pt x="536" y="112"/>
                  </a:lnTo>
                  <a:lnTo>
                    <a:pt x="520" y="112"/>
                  </a:lnTo>
                  <a:lnTo>
                    <a:pt x="536" y="88"/>
                  </a:lnTo>
                  <a:lnTo>
                    <a:pt x="536" y="80"/>
                  </a:lnTo>
                  <a:lnTo>
                    <a:pt x="528" y="80"/>
                  </a:lnTo>
                  <a:lnTo>
                    <a:pt x="536" y="72"/>
                  </a:lnTo>
                  <a:lnTo>
                    <a:pt x="536" y="56"/>
                  </a:lnTo>
                  <a:lnTo>
                    <a:pt x="528" y="56"/>
                  </a:lnTo>
                  <a:lnTo>
                    <a:pt x="504" y="64"/>
                  </a:lnTo>
                  <a:lnTo>
                    <a:pt x="496" y="80"/>
                  </a:lnTo>
                  <a:lnTo>
                    <a:pt x="480" y="104"/>
                  </a:lnTo>
                  <a:lnTo>
                    <a:pt x="472" y="112"/>
                  </a:lnTo>
                  <a:lnTo>
                    <a:pt x="464" y="112"/>
                  </a:lnTo>
                  <a:lnTo>
                    <a:pt x="464" y="104"/>
                  </a:lnTo>
                  <a:lnTo>
                    <a:pt x="472" y="88"/>
                  </a:lnTo>
                  <a:lnTo>
                    <a:pt x="496" y="64"/>
                  </a:lnTo>
                  <a:lnTo>
                    <a:pt x="480" y="72"/>
                  </a:lnTo>
                  <a:lnTo>
                    <a:pt x="504" y="48"/>
                  </a:lnTo>
                  <a:lnTo>
                    <a:pt x="536" y="48"/>
                  </a:lnTo>
                  <a:lnTo>
                    <a:pt x="536" y="40"/>
                  </a:lnTo>
                  <a:lnTo>
                    <a:pt x="528" y="40"/>
                  </a:lnTo>
                  <a:lnTo>
                    <a:pt x="536" y="40"/>
                  </a:lnTo>
                  <a:lnTo>
                    <a:pt x="504" y="40"/>
                  </a:lnTo>
                  <a:lnTo>
                    <a:pt x="504" y="32"/>
                  </a:lnTo>
                  <a:lnTo>
                    <a:pt x="488" y="40"/>
                  </a:lnTo>
                  <a:lnTo>
                    <a:pt x="504" y="24"/>
                  </a:lnTo>
                  <a:lnTo>
                    <a:pt x="464" y="40"/>
                  </a:lnTo>
                  <a:lnTo>
                    <a:pt x="464" y="32"/>
                  </a:lnTo>
                  <a:lnTo>
                    <a:pt x="448" y="40"/>
                  </a:lnTo>
                  <a:lnTo>
                    <a:pt x="480" y="16"/>
                  </a:lnTo>
                  <a:lnTo>
                    <a:pt x="488" y="16"/>
                  </a:lnTo>
                  <a:lnTo>
                    <a:pt x="440" y="8"/>
                  </a:lnTo>
                  <a:lnTo>
                    <a:pt x="432" y="0"/>
                  </a:lnTo>
                  <a:lnTo>
                    <a:pt x="424" y="0"/>
                  </a:lnTo>
                  <a:lnTo>
                    <a:pt x="104" y="0"/>
                  </a:lnTo>
                  <a:lnTo>
                    <a:pt x="104" y="8"/>
                  </a:lnTo>
                  <a:lnTo>
                    <a:pt x="96" y="24"/>
                  </a:lnTo>
                  <a:lnTo>
                    <a:pt x="88" y="24"/>
                  </a:lnTo>
                  <a:lnTo>
                    <a:pt x="96" y="16"/>
                  </a:lnTo>
                  <a:lnTo>
                    <a:pt x="80" y="8"/>
                  </a:lnTo>
                  <a:lnTo>
                    <a:pt x="72" y="16"/>
                  </a:lnTo>
                  <a:lnTo>
                    <a:pt x="64" y="48"/>
                  </a:lnTo>
                  <a:lnTo>
                    <a:pt x="24" y="96"/>
                  </a:lnTo>
                  <a:lnTo>
                    <a:pt x="16" y="112"/>
                  </a:lnTo>
                  <a:lnTo>
                    <a:pt x="8" y="136"/>
                  </a:lnTo>
                  <a:lnTo>
                    <a:pt x="8" y="144"/>
                  </a:lnTo>
                  <a:lnTo>
                    <a:pt x="0" y="152"/>
                  </a:lnTo>
                  <a:lnTo>
                    <a:pt x="8" y="160"/>
                  </a:lnTo>
                  <a:lnTo>
                    <a:pt x="0" y="168"/>
                  </a:lnTo>
                  <a:lnTo>
                    <a:pt x="16" y="168"/>
                  </a:lnTo>
                  <a:lnTo>
                    <a:pt x="8" y="176"/>
                  </a:lnTo>
                  <a:lnTo>
                    <a:pt x="8" y="184"/>
                  </a:lnTo>
                  <a:lnTo>
                    <a:pt x="8" y="192"/>
                  </a:lnTo>
                  <a:lnTo>
                    <a:pt x="16" y="208"/>
                  </a:lnTo>
                  <a:lnTo>
                    <a:pt x="8" y="216"/>
                  </a:lnTo>
                  <a:lnTo>
                    <a:pt x="32" y="224"/>
                  </a:lnTo>
                  <a:lnTo>
                    <a:pt x="32" y="232"/>
                  </a:lnTo>
                  <a:lnTo>
                    <a:pt x="40" y="240"/>
                  </a:lnTo>
                  <a:lnTo>
                    <a:pt x="40" y="248"/>
                  </a:lnTo>
                  <a:lnTo>
                    <a:pt x="72" y="248"/>
                  </a:lnTo>
                  <a:lnTo>
                    <a:pt x="112" y="272"/>
                  </a:lnTo>
                  <a:lnTo>
                    <a:pt x="176" y="264"/>
                  </a:lnTo>
                  <a:lnTo>
                    <a:pt x="184" y="280"/>
                  </a:lnTo>
                  <a:lnTo>
                    <a:pt x="184" y="288"/>
                  </a:lnTo>
                  <a:lnTo>
                    <a:pt x="192" y="304"/>
                  </a:lnTo>
                  <a:lnTo>
                    <a:pt x="200" y="304"/>
                  </a:lnTo>
                  <a:lnTo>
                    <a:pt x="208" y="288"/>
                  </a:lnTo>
                  <a:lnTo>
                    <a:pt x="224" y="296"/>
                  </a:lnTo>
                  <a:lnTo>
                    <a:pt x="240" y="344"/>
                  </a:lnTo>
                  <a:lnTo>
                    <a:pt x="264" y="352"/>
                  </a:lnTo>
                  <a:lnTo>
                    <a:pt x="272" y="320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Freeform 125">
              <a:extLst>
                <a:ext uri="{FF2B5EF4-FFF2-40B4-BE49-F238E27FC236}">
                  <a16:creationId xmlns:a16="http://schemas.microsoft.com/office/drawing/2014/main" id="{5B782084-D5B8-4168-B35D-5D2ED635CF60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2837673" y="3589523"/>
              <a:ext cx="152184" cy="154501"/>
            </a:xfrm>
            <a:custGeom>
              <a:avLst/>
              <a:gdLst>
                <a:gd name="T0" fmla="*/ 68943 w 56"/>
                <a:gd name="T1" fmla="*/ 89297 h 64"/>
                <a:gd name="T2" fmla="*/ 51707 w 56"/>
                <a:gd name="T3" fmla="*/ 119063 h 64"/>
                <a:gd name="T4" fmla="*/ 0 w 56"/>
                <a:gd name="T5" fmla="*/ 104180 h 64"/>
                <a:gd name="T6" fmla="*/ 0 w 56"/>
                <a:gd name="T7" fmla="*/ 89297 h 64"/>
                <a:gd name="T8" fmla="*/ 34471 w 56"/>
                <a:gd name="T9" fmla="*/ 44649 h 64"/>
                <a:gd name="T10" fmla="*/ 51707 w 56"/>
                <a:gd name="T11" fmla="*/ 44649 h 64"/>
                <a:gd name="T12" fmla="*/ 34471 w 56"/>
                <a:gd name="T13" fmla="*/ 14883 h 64"/>
                <a:gd name="T14" fmla="*/ 51707 w 56"/>
                <a:gd name="T15" fmla="*/ 0 h 64"/>
                <a:gd name="T16" fmla="*/ 103414 w 56"/>
                <a:gd name="T17" fmla="*/ 0 h 64"/>
                <a:gd name="T18" fmla="*/ 86179 w 56"/>
                <a:gd name="T19" fmla="*/ 44649 h 64"/>
                <a:gd name="T20" fmla="*/ 103414 w 56"/>
                <a:gd name="T21" fmla="*/ 59532 h 64"/>
                <a:gd name="T22" fmla="*/ 120650 w 56"/>
                <a:gd name="T23" fmla="*/ 59532 h 64"/>
                <a:gd name="T24" fmla="*/ 68943 w 56"/>
                <a:gd name="T25" fmla="*/ 89297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6"/>
                <a:gd name="T40" fmla="*/ 0 h 64"/>
                <a:gd name="T41" fmla="*/ 56 w 56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6" h="64">
                  <a:moveTo>
                    <a:pt x="32" y="48"/>
                  </a:moveTo>
                  <a:lnTo>
                    <a:pt x="24" y="64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16" y="8"/>
                  </a:lnTo>
                  <a:lnTo>
                    <a:pt x="24" y="0"/>
                  </a:lnTo>
                  <a:lnTo>
                    <a:pt x="48" y="0"/>
                  </a:lnTo>
                  <a:lnTo>
                    <a:pt x="40" y="24"/>
                  </a:lnTo>
                  <a:lnTo>
                    <a:pt x="48" y="32"/>
                  </a:lnTo>
                  <a:lnTo>
                    <a:pt x="56" y="32"/>
                  </a:lnTo>
                  <a:lnTo>
                    <a:pt x="32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 126">
              <a:extLst>
                <a:ext uri="{FF2B5EF4-FFF2-40B4-BE49-F238E27FC236}">
                  <a16:creationId xmlns:a16="http://schemas.microsoft.com/office/drawing/2014/main" id="{4815DA3C-7C37-478C-A22F-ABCBBB9CB330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2901751" y="3704883"/>
              <a:ext cx="88106" cy="57680"/>
            </a:xfrm>
            <a:custGeom>
              <a:avLst/>
              <a:gdLst>
                <a:gd name="T0" fmla="*/ 69850 w 32"/>
                <a:gd name="T1" fmla="*/ 29633 h 24"/>
                <a:gd name="T2" fmla="*/ 17463 w 32"/>
                <a:gd name="T3" fmla="*/ 0 h 24"/>
                <a:gd name="T4" fmla="*/ 0 w 32"/>
                <a:gd name="T5" fmla="*/ 29633 h 24"/>
                <a:gd name="T6" fmla="*/ 17463 w 32"/>
                <a:gd name="T7" fmla="*/ 29633 h 24"/>
                <a:gd name="T8" fmla="*/ 69850 w 32"/>
                <a:gd name="T9" fmla="*/ 44450 h 24"/>
                <a:gd name="T10" fmla="*/ 69850 w 32"/>
                <a:gd name="T11" fmla="*/ 29633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24"/>
                <a:gd name="T20" fmla="*/ 32 w 32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24">
                  <a:moveTo>
                    <a:pt x="32" y="16"/>
                  </a:moveTo>
                  <a:lnTo>
                    <a:pt x="8" y="0"/>
                  </a:lnTo>
                  <a:lnTo>
                    <a:pt x="0" y="16"/>
                  </a:lnTo>
                  <a:lnTo>
                    <a:pt x="8" y="16"/>
                  </a:lnTo>
                  <a:lnTo>
                    <a:pt x="32" y="24"/>
                  </a:lnTo>
                  <a:lnTo>
                    <a:pt x="32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reeform 127">
              <a:extLst>
                <a:ext uri="{FF2B5EF4-FFF2-40B4-BE49-F238E27FC236}">
                  <a16:creationId xmlns:a16="http://schemas.microsoft.com/office/drawing/2014/main" id="{FC0EB35B-CEB2-45E8-B096-E402C790F33E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3252175" y="3896463"/>
              <a:ext cx="22027" cy="18541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0 h 8"/>
                <a:gd name="T4" fmla="*/ 17463 w 8"/>
                <a:gd name="T5" fmla="*/ 14288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Freeform 128">
              <a:extLst>
                <a:ext uri="{FF2B5EF4-FFF2-40B4-BE49-F238E27FC236}">
                  <a16:creationId xmlns:a16="http://schemas.microsoft.com/office/drawing/2014/main" id="{0A3E7C5B-16C6-4BD7-8BCB-570C3E508706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3252175" y="3896463"/>
              <a:ext cx="22027" cy="18541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0 h 8"/>
                <a:gd name="T4" fmla="*/ 17463 w 8"/>
                <a:gd name="T5" fmla="*/ 14288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Freeform 129">
              <a:extLst>
                <a:ext uri="{FF2B5EF4-FFF2-40B4-BE49-F238E27FC236}">
                  <a16:creationId xmlns:a16="http://schemas.microsoft.com/office/drawing/2014/main" id="{E3B23031-0BAB-40A9-B113-0B0DE9176BCE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3274201" y="3896463"/>
              <a:ext cx="86105" cy="76221"/>
            </a:xfrm>
            <a:custGeom>
              <a:avLst/>
              <a:gdLst>
                <a:gd name="T0" fmla="*/ 68263 w 32"/>
                <a:gd name="T1" fmla="*/ 29369 h 32"/>
                <a:gd name="T2" fmla="*/ 34132 w 32"/>
                <a:gd name="T3" fmla="*/ 0 h 32"/>
                <a:gd name="T4" fmla="*/ 17066 w 32"/>
                <a:gd name="T5" fmla="*/ 0 h 32"/>
                <a:gd name="T6" fmla="*/ 0 w 32"/>
                <a:gd name="T7" fmla="*/ 0 h 32"/>
                <a:gd name="T8" fmla="*/ 0 w 32"/>
                <a:gd name="T9" fmla="*/ 14685 h 32"/>
                <a:gd name="T10" fmla="*/ 34132 w 32"/>
                <a:gd name="T11" fmla="*/ 29369 h 32"/>
                <a:gd name="T12" fmla="*/ 34132 w 32"/>
                <a:gd name="T13" fmla="*/ 44053 h 32"/>
                <a:gd name="T14" fmla="*/ 51197 w 32"/>
                <a:gd name="T15" fmla="*/ 58738 h 32"/>
                <a:gd name="T16" fmla="*/ 68263 w 32"/>
                <a:gd name="T17" fmla="*/ 44053 h 32"/>
                <a:gd name="T18" fmla="*/ 68263 w 32"/>
                <a:gd name="T19" fmla="*/ 29369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32"/>
                <a:gd name="T32" fmla="*/ 32 w 32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32">
                  <a:moveTo>
                    <a:pt x="32" y="16"/>
                  </a:move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16" y="16"/>
                  </a:lnTo>
                  <a:lnTo>
                    <a:pt x="16" y="24"/>
                  </a:lnTo>
                  <a:lnTo>
                    <a:pt x="24" y="32"/>
                  </a:lnTo>
                  <a:lnTo>
                    <a:pt x="32" y="24"/>
                  </a:lnTo>
                  <a:lnTo>
                    <a:pt x="32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Freeform 130">
              <a:extLst>
                <a:ext uri="{FF2B5EF4-FFF2-40B4-BE49-F238E27FC236}">
                  <a16:creationId xmlns:a16="http://schemas.microsoft.com/office/drawing/2014/main" id="{DE410B26-1CA5-490D-BE35-B0300108A791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3142041" y="3896463"/>
              <a:ext cx="132160" cy="76221"/>
            </a:xfrm>
            <a:custGeom>
              <a:avLst/>
              <a:gdLst>
                <a:gd name="T0" fmla="*/ 17463 w 48"/>
                <a:gd name="T1" fmla="*/ 0 h 32"/>
                <a:gd name="T2" fmla="*/ 34925 w 48"/>
                <a:gd name="T3" fmla="*/ 14685 h 32"/>
                <a:gd name="T4" fmla="*/ 52387 w 48"/>
                <a:gd name="T5" fmla="*/ 14685 h 32"/>
                <a:gd name="T6" fmla="*/ 87313 w 48"/>
                <a:gd name="T7" fmla="*/ 0 h 32"/>
                <a:gd name="T8" fmla="*/ 104775 w 48"/>
                <a:gd name="T9" fmla="*/ 14685 h 32"/>
                <a:gd name="T10" fmla="*/ 69850 w 48"/>
                <a:gd name="T11" fmla="*/ 29369 h 32"/>
                <a:gd name="T12" fmla="*/ 87313 w 48"/>
                <a:gd name="T13" fmla="*/ 58738 h 32"/>
                <a:gd name="T14" fmla="*/ 69850 w 48"/>
                <a:gd name="T15" fmla="*/ 58738 h 32"/>
                <a:gd name="T16" fmla="*/ 52387 w 48"/>
                <a:gd name="T17" fmla="*/ 44053 h 32"/>
                <a:gd name="T18" fmla="*/ 0 w 48"/>
                <a:gd name="T19" fmla="*/ 29369 h 32"/>
                <a:gd name="T20" fmla="*/ 17463 w 48"/>
                <a:gd name="T21" fmla="*/ 0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32"/>
                <a:gd name="T35" fmla="*/ 48 w 48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32">
                  <a:moveTo>
                    <a:pt x="8" y="0"/>
                  </a:moveTo>
                  <a:lnTo>
                    <a:pt x="16" y="8"/>
                  </a:lnTo>
                  <a:lnTo>
                    <a:pt x="24" y="8"/>
                  </a:lnTo>
                  <a:lnTo>
                    <a:pt x="40" y="0"/>
                  </a:lnTo>
                  <a:lnTo>
                    <a:pt x="48" y="8"/>
                  </a:lnTo>
                  <a:lnTo>
                    <a:pt x="32" y="16"/>
                  </a:lnTo>
                  <a:lnTo>
                    <a:pt x="40" y="32"/>
                  </a:lnTo>
                  <a:lnTo>
                    <a:pt x="32" y="32"/>
                  </a:lnTo>
                  <a:lnTo>
                    <a:pt x="24" y="24"/>
                  </a:lnTo>
                  <a:lnTo>
                    <a:pt x="0" y="1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Freeform 131">
              <a:extLst>
                <a:ext uri="{FF2B5EF4-FFF2-40B4-BE49-F238E27FC236}">
                  <a16:creationId xmlns:a16="http://schemas.microsoft.com/office/drawing/2014/main" id="{01B8AF96-3FA6-4F02-8188-FC7DDD47F930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3055938" y="3838783"/>
              <a:ext cx="108131" cy="96821"/>
            </a:xfrm>
            <a:custGeom>
              <a:avLst/>
              <a:gdLst>
                <a:gd name="T0" fmla="*/ 85725 w 40"/>
                <a:gd name="T1" fmla="*/ 44768 h 40"/>
                <a:gd name="T2" fmla="*/ 68580 w 40"/>
                <a:gd name="T3" fmla="*/ 29845 h 40"/>
                <a:gd name="T4" fmla="*/ 51435 w 40"/>
                <a:gd name="T5" fmla="*/ 0 h 40"/>
                <a:gd name="T6" fmla="*/ 0 w 40"/>
                <a:gd name="T7" fmla="*/ 0 h 40"/>
                <a:gd name="T8" fmla="*/ 0 w 40"/>
                <a:gd name="T9" fmla="*/ 29845 h 40"/>
                <a:gd name="T10" fmla="*/ 17145 w 40"/>
                <a:gd name="T11" fmla="*/ 44768 h 40"/>
                <a:gd name="T12" fmla="*/ 17145 w 40"/>
                <a:gd name="T13" fmla="*/ 29845 h 40"/>
                <a:gd name="T14" fmla="*/ 51435 w 40"/>
                <a:gd name="T15" fmla="*/ 59690 h 40"/>
                <a:gd name="T16" fmla="*/ 51435 w 40"/>
                <a:gd name="T17" fmla="*/ 74613 h 40"/>
                <a:gd name="T18" fmla="*/ 68580 w 40"/>
                <a:gd name="T19" fmla="*/ 74613 h 40"/>
                <a:gd name="T20" fmla="*/ 85725 w 40"/>
                <a:gd name="T21" fmla="*/ 44768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40"/>
                <a:gd name="T35" fmla="*/ 40 w 40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40">
                  <a:moveTo>
                    <a:pt x="40" y="24"/>
                  </a:moveTo>
                  <a:lnTo>
                    <a:pt x="32" y="1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8" y="24"/>
                  </a:lnTo>
                  <a:lnTo>
                    <a:pt x="8" y="16"/>
                  </a:lnTo>
                  <a:lnTo>
                    <a:pt x="24" y="32"/>
                  </a:lnTo>
                  <a:lnTo>
                    <a:pt x="24" y="40"/>
                  </a:lnTo>
                  <a:lnTo>
                    <a:pt x="32" y="40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Freeform 132">
              <a:extLst>
                <a:ext uri="{FF2B5EF4-FFF2-40B4-BE49-F238E27FC236}">
                  <a16:creationId xmlns:a16="http://schemas.microsoft.com/office/drawing/2014/main" id="{F47F35BA-6EE2-4617-9E28-D47FDB09ED91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3011884" y="3686343"/>
              <a:ext cx="152184" cy="152441"/>
            </a:xfrm>
            <a:custGeom>
              <a:avLst/>
              <a:gdLst>
                <a:gd name="T0" fmla="*/ 86179 w 56"/>
                <a:gd name="T1" fmla="*/ 117475 h 64"/>
                <a:gd name="T2" fmla="*/ 120650 w 56"/>
                <a:gd name="T3" fmla="*/ 29369 h 64"/>
                <a:gd name="T4" fmla="*/ 120650 w 56"/>
                <a:gd name="T5" fmla="*/ 0 h 64"/>
                <a:gd name="T6" fmla="*/ 68943 w 56"/>
                <a:gd name="T7" fmla="*/ 14684 h 64"/>
                <a:gd name="T8" fmla="*/ 0 w 56"/>
                <a:gd name="T9" fmla="*/ 58738 h 64"/>
                <a:gd name="T10" fmla="*/ 0 w 56"/>
                <a:gd name="T11" fmla="*/ 73422 h 64"/>
                <a:gd name="T12" fmla="*/ 34471 w 56"/>
                <a:gd name="T13" fmla="*/ 117475 h 64"/>
                <a:gd name="T14" fmla="*/ 86179 w 56"/>
                <a:gd name="T15" fmla="*/ 117475 h 6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6"/>
                <a:gd name="T25" fmla="*/ 0 h 64"/>
                <a:gd name="T26" fmla="*/ 56 w 56"/>
                <a:gd name="T27" fmla="*/ 64 h 6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6" h="64">
                  <a:moveTo>
                    <a:pt x="40" y="64"/>
                  </a:moveTo>
                  <a:lnTo>
                    <a:pt x="56" y="16"/>
                  </a:lnTo>
                  <a:lnTo>
                    <a:pt x="56" y="0"/>
                  </a:lnTo>
                  <a:lnTo>
                    <a:pt x="32" y="8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16" y="64"/>
                  </a:lnTo>
                  <a:lnTo>
                    <a:pt x="40" y="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reeform 133">
              <a:extLst>
                <a:ext uri="{FF2B5EF4-FFF2-40B4-BE49-F238E27FC236}">
                  <a16:creationId xmlns:a16="http://schemas.microsoft.com/office/drawing/2014/main" id="{E5F8D892-AA34-4AFA-BE75-0FAA862AB24D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2923778" y="3667803"/>
              <a:ext cx="240290" cy="94760"/>
            </a:xfrm>
            <a:custGeom>
              <a:avLst/>
              <a:gdLst>
                <a:gd name="T0" fmla="*/ 51955 w 88"/>
                <a:gd name="T1" fmla="*/ 0 h 40"/>
                <a:gd name="T2" fmla="*/ 138545 w 88"/>
                <a:gd name="T3" fmla="*/ 0 h 40"/>
                <a:gd name="T4" fmla="*/ 190500 w 88"/>
                <a:gd name="T5" fmla="*/ 14605 h 40"/>
                <a:gd name="T6" fmla="*/ 138545 w 88"/>
                <a:gd name="T7" fmla="*/ 29210 h 40"/>
                <a:gd name="T8" fmla="*/ 69273 w 88"/>
                <a:gd name="T9" fmla="*/ 73025 h 40"/>
                <a:gd name="T10" fmla="*/ 51955 w 88"/>
                <a:gd name="T11" fmla="*/ 58420 h 40"/>
                <a:gd name="T12" fmla="*/ 0 w 88"/>
                <a:gd name="T13" fmla="*/ 29210 h 40"/>
                <a:gd name="T14" fmla="*/ 51955 w 88"/>
                <a:gd name="T15" fmla="*/ 0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40"/>
                <a:gd name="T26" fmla="*/ 88 w 88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40">
                  <a:moveTo>
                    <a:pt x="24" y="0"/>
                  </a:moveTo>
                  <a:lnTo>
                    <a:pt x="64" y="0"/>
                  </a:lnTo>
                  <a:lnTo>
                    <a:pt x="88" y="8"/>
                  </a:lnTo>
                  <a:lnTo>
                    <a:pt x="64" y="16"/>
                  </a:lnTo>
                  <a:lnTo>
                    <a:pt x="32" y="40"/>
                  </a:lnTo>
                  <a:lnTo>
                    <a:pt x="24" y="32"/>
                  </a:lnTo>
                  <a:lnTo>
                    <a:pt x="0" y="1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Freeform 134">
              <a:extLst>
                <a:ext uri="{FF2B5EF4-FFF2-40B4-BE49-F238E27FC236}">
                  <a16:creationId xmlns:a16="http://schemas.microsoft.com/office/drawing/2014/main" id="{637797BA-9DC5-453A-8195-B536FD031657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3578569" y="3513302"/>
              <a:ext cx="130158" cy="96821"/>
            </a:xfrm>
            <a:custGeom>
              <a:avLst/>
              <a:gdLst>
                <a:gd name="T0" fmla="*/ 17198 w 48"/>
                <a:gd name="T1" fmla="*/ 0 h 40"/>
                <a:gd name="T2" fmla="*/ 68792 w 48"/>
                <a:gd name="T3" fmla="*/ 14923 h 40"/>
                <a:gd name="T4" fmla="*/ 85990 w 48"/>
                <a:gd name="T5" fmla="*/ 14923 h 40"/>
                <a:gd name="T6" fmla="*/ 68792 w 48"/>
                <a:gd name="T7" fmla="*/ 29845 h 40"/>
                <a:gd name="T8" fmla="*/ 103188 w 48"/>
                <a:gd name="T9" fmla="*/ 29845 h 40"/>
                <a:gd name="T10" fmla="*/ 103188 w 48"/>
                <a:gd name="T11" fmla="*/ 44768 h 40"/>
                <a:gd name="T12" fmla="*/ 103188 w 48"/>
                <a:gd name="T13" fmla="*/ 59690 h 40"/>
                <a:gd name="T14" fmla="*/ 85990 w 48"/>
                <a:gd name="T15" fmla="*/ 44768 h 40"/>
                <a:gd name="T16" fmla="*/ 34396 w 48"/>
                <a:gd name="T17" fmla="*/ 44768 h 40"/>
                <a:gd name="T18" fmla="*/ 51594 w 48"/>
                <a:gd name="T19" fmla="*/ 44768 h 40"/>
                <a:gd name="T20" fmla="*/ 34396 w 48"/>
                <a:gd name="T21" fmla="*/ 44768 h 40"/>
                <a:gd name="T22" fmla="*/ 17198 w 48"/>
                <a:gd name="T23" fmla="*/ 74613 h 40"/>
                <a:gd name="T24" fmla="*/ 0 w 48"/>
                <a:gd name="T25" fmla="*/ 59690 h 40"/>
                <a:gd name="T26" fmla="*/ 17198 w 48"/>
                <a:gd name="T27" fmla="*/ 0 h 4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8"/>
                <a:gd name="T43" fmla="*/ 0 h 40"/>
                <a:gd name="T44" fmla="*/ 48 w 48"/>
                <a:gd name="T45" fmla="*/ 40 h 4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8" h="40">
                  <a:moveTo>
                    <a:pt x="8" y="0"/>
                  </a:moveTo>
                  <a:lnTo>
                    <a:pt x="32" y="8"/>
                  </a:lnTo>
                  <a:lnTo>
                    <a:pt x="40" y="8"/>
                  </a:lnTo>
                  <a:lnTo>
                    <a:pt x="32" y="16"/>
                  </a:lnTo>
                  <a:lnTo>
                    <a:pt x="48" y="16"/>
                  </a:lnTo>
                  <a:lnTo>
                    <a:pt x="48" y="24"/>
                  </a:lnTo>
                  <a:lnTo>
                    <a:pt x="48" y="32"/>
                  </a:lnTo>
                  <a:lnTo>
                    <a:pt x="40" y="24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16" y="24"/>
                  </a:lnTo>
                  <a:lnTo>
                    <a:pt x="8" y="40"/>
                  </a:lnTo>
                  <a:lnTo>
                    <a:pt x="0" y="3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Freeform 135">
              <a:extLst>
                <a:ext uri="{FF2B5EF4-FFF2-40B4-BE49-F238E27FC236}">
                  <a16:creationId xmlns:a16="http://schemas.microsoft.com/office/drawing/2014/main" id="{67D26C85-B701-4FDD-A3D3-30E81CB3A681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3492465" y="3513302"/>
              <a:ext cx="108131" cy="76221"/>
            </a:xfrm>
            <a:custGeom>
              <a:avLst/>
              <a:gdLst>
                <a:gd name="T0" fmla="*/ 85725 w 40"/>
                <a:gd name="T1" fmla="*/ 0 h 32"/>
                <a:gd name="T2" fmla="*/ 51435 w 40"/>
                <a:gd name="T3" fmla="*/ 0 h 32"/>
                <a:gd name="T4" fmla="*/ 34290 w 40"/>
                <a:gd name="T5" fmla="*/ 14685 h 32"/>
                <a:gd name="T6" fmla="*/ 51435 w 40"/>
                <a:gd name="T7" fmla="*/ 14685 h 32"/>
                <a:gd name="T8" fmla="*/ 68580 w 40"/>
                <a:gd name="T9" fmla="*/ 44053 h 32"/>
                <a:gd name="T10" fmla="*/ 34290 w 40"/>
                <a:gd name="T11" fmla="*/ 44053 h 32"/>
                <a:gd name="T12" fmla="*/ 17145 w 40"/>
                <a:gd name="T13" fmla="*/ 44053 h 32"/>
                <a:gd name="T14" fmla="*/ 0 w 40"/>
                <a:gd name="T15" fmla="*/ 44053 h 32"/>
                <a:gd name="T16" fmla="*/ 17145 w 40"/>
                <a:gd name="T17" fmla="*/ 58738 h 32"/>
                <a:gd name="T18" fmla="*/ 68580 w 40"/>
                <a:gd name="T19" fmla="*/ 58738 h 32"/>
                <a:gd name="T20" fmla="*/ 85725 w 40"/>
                <a:gd name="T21" fmla="*/ 0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32"/>
                <a:gd name="T35" fmla="*/ 40 w 40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32">
                  <a:moveTo>
                    <a:pt x="40" y="0"/>
                  </a:moveTo>
                  <a:lnTo>
                    <a:pt x="24" y="0"/>
                  </a:lnTo>
                  <a:lnTo>
                    <a:pt x="16" y="8"/>
                  </a:lnTo>
                  <a:lnTo>
                    <a:pt x="24" y="8"/>
                  </a:lnTo>
                  <a:lnTo>
                    <a:pt x="32" y="24"/>
                  </a:lnTo>
                  <a:lnTo>
                    <a:pt x="16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8" y="32"/>
                  </a:lnTo>
                  <a:lnTo>
                    <a:pt x="32" y="32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Freeform 136">
              <a:extLst>
                <a:ext uri="{FF2B5EF4-FFF2-40B4-BE49-F238E27FC236}">
                  <a16:creationId xmlns:a16="http://schemas.microsoft.com/office/drawing/2014/main" id="{2D9F89FB-8988-476B-9801-A6AE8DDC584E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4167280" y="5332289"/>
              <a:ext cx="174211" cy="173041"/>
            </a:xfrm>
            <a:custGeom>
              <a:avLst/>
              <a:gdLst>
                <a:gd name="T0" fmla="*/ 0 w 64"/>
                <a:gd name="T1" fmla="*/ 103717 h 72"/>
                <a:gd name="T2" fmla="*/ 0 w 64"/>
                <a:gd name="T3" fmla="*/ 0 h 72"/>
                <a:gd name="T4" fmla="*/ 17264 w 64"/>
                <a:gd name="T5" fmla="*/ 0 h 72"/>
                <a:gd name="T6" fmla="*/ 51792 w 64"/>
                <a:gd name="T7" fmla="*/ 29633 h 72"/>
                <a:gd name="T8" fmla="*/ 51792 w 64"/>
                <a:gd name="T9" fmla="*/ 14817 h 72"/>
                <a:gd name="T10" fmla="*/ 120849 w 64"/>
                <a:gd name="T11" fmla="*/ 44450 h 72"/>
                <a:gd name="T12" fmla="*/ 138113 w 64"/>
                <a:gd name="T13" fmla="*/ 74083 h 72"/>
                <a:gd name="T14" fmla="*/ 138113 w 64"/>
                <a:gd name="T15" fmla="*/ 103717 h 72"/>
                <a:gd name="T16" fmla="*/ 120849 w 64"/>
                <a:gd name="T17" fmla="*/ 118533 h 72"/>
                <a:gd name="T18" fmla="*/ 69057 w 64"/>
                <a:gd name="T19" fmla="*/ 133350 h 72"/>
                <a:gd name="T20" fmla="*/ 0 w 64"/>
                <a:gd name="T21" fmla="*/ 103717 h 7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4"/>
                <a:gd name="T34" fmla="*/ 0 h 72"/>
                <a:gd name="T35" fmla="*/ 64 w 64"/>
                <a:gd name="T36" fmla="*/ 72 h 7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4" h="72">
                  <a:moveTo>
                    <a:pt x="0" y="56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56" y="24"/>
                  </a:lnTo>
                  <a:lnTo>
                    <a:pt x="64" y="40"/>
                  </a:lnTo>
                  <a:lnTo>
                    <a:pt x="64" y="56"/>
                  </a:lnTo>
                  <a:lnTo>
                    <a:pt x="56" y="64"/>
                  </a:lnTo>
                  <a:lnTo>
                    <a:pt x="32" y="72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Freeform 137">
              <a:extLst>
                <a:ext uri="{FF2B5EF4-FFF2-40B4-BE49-F238E27FC236}">
                  <a16:creationId xmlns:a16="http://schemas.microsoft.com/office/drawing/2014/main" id="{EDE4842A-05E9-46C8-905B-A6B8BD526B90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3492465" y="4050964"/>
              <a:ext cx="1395688" cy="1415225"/>
            </a:xfrm>
            <a:custGeom>
              <a:avLst/>
              <a:gdLst>
                <a:gd name="T0" fmla="*/ 587822 w 512"/>
                <a:gd name="T1" fmla="*/ 88428 h 592"/>
                <a:gd name="T2" fmla="*/ 501377 w 512"/>
                <a:gd name="T3" fmla="*/ 73690 h 592"/>
                <a:gd name="T4" fmla="*/ 484088 w 512"/>
                <a:gd name="T5" fmla="*/ 88428 h 592"/>
                <a:gd name="T6" fmla="*/ 414933 w 512"/>
                <a:gd name="T7" fmla="*/ 103166 h 592"/>
                <a:gd name="T8" fmla="*/ 380355 w 512"/>
                <a:gd name="T9" fmla="*/ 73690 h 592"/>
                <a:gd name="T10" fmla="*/ 380355 w 512"/>
                <a:gd name="T11" fmla="*/ 0 h 592"/>
                <a:gd name="T12" fmla="*/ 363066 w 512"/>
                <a:gd name="T13" fmla="*/ 14738 h 592"/>
                <a:gd name="T14" fmla="*/ 242044 w 512"/>
                <a:gd name="T15" fmla="*/ 29476 h 592"/>
                <a:gd name="T16" fmla="*/ 259333 w 512"/>
                <a:gd name="T17" fmla="*/ 73690 h 592"/>
                <a:gd name="T18" fmla="*/ 224755 w 512"/>
                <a:gd name="T19" fmla="*/ 117904 h 592"/>
                <a:gd name="T20" fmla="*/ 190178 w 512"/>
                <a:gd name="T21" fmla="*/ 103166 h 592"/>
                <a:gd name="T22" fmla="*/ 103733 w 512"/>
                <a:gd name="T23" fmla="*/ 103166 h 592"/>
                <a:gd name="T24" fmla="*/ 121022 w 512"/>
                <a:gd name="T25" fmla="*/ 132642 h 592"/>
                <a:gd name="T26" fmla="*/ 103733 w 512"/>
                <a:gd name="T27" fmla="*/ 176856 h 592"/>
                <a:gd name="T28" fmla="*/ 34578 w 512"/>
                <a:gd name="T29" fmla="*/ 280022 h 592"/>
                <a:gd name="T30" fmla="*/ 0 w 512"/>
                <a:gd name="T31" fmla="*/ 353712 h 592"/>
                <a:gd name="T32" fmla="*/ 51867 w 512"/>
                <a:gd name="T33" fmla="*/ 427402 h 592"/>
                <a:gd name="T34" fmla="*/ 86444 w 512"/>
                <a:gd name="T35" fmla="*/ 442140 h 592"/>
                <a:gd name="T36" fmla="*/ 155600 w 512"/>
                <a:gd name="T37" fmla="*/ 456878 h 592"/>
                <a:gd name="T38" fmla="*/ 242044 w 512"/>
                <a:gd name="T39" fmla="*/ 412664 h 592"/>
                <a:gd name="T40" fmla="*/ 259333 w 512"/>
                <a:gd name="T41" fmla="*/ 486354 h 592"/>
                <a:gd name="T42" fmla="*/ 397644 w 512"/>
                <a:gd name="T43" fmla="*/ 560045 h 592"/>
                <a:gd name="T44" fmla="*/ 397644 w 512"/>
                <a:gd name="T45" fmla="*/ 589521 h 592"/>
                <a:gd name="T46" fmla="*/ 449511 w 512"/>
                <a:gd name="T47" fmla="*/ 618997 h 592"/>
                <a:gd name="T48" fmla="*/ 466800 w 512"/>
                <a:gd name="T49" fmla="*/ 707425 h 592"/>
                <a:gd name="T50" fmla="*/ 535955 w 512"/>
                <a:gd name="T51" fmla="*/ 766377 h 592"/>
                <a:gd name="T52" fmla="*/ 553244 w 512"/>
                <a:gd name="T53" fmla="*/ 810591 h 592"/>
                <a:gd name="T54" fmla="*/ 587822 w 512"/>
                <a:gd name="T55" fmla="*/ 854805 h 592"/>
                <a:gd name="T56" fmla="*/ 622399 w 512"/>
                <a:gd name="T57" fmla="*/ 899019 h 592"/>
                <a:gd name="T58" fmla="*/ 535955 w 512"/>
                <a:gd name="T59" fmla="*/ 987447 h 592"/>
                <a:gd name="T60" fmla="*/ 587822 w 512"/>
                <a:gd name="T61" fmla="*/ 1016923 h 592"/>
                <a:gd name="T62" fmla="*/ 656977 w 512"/>
                <a:gd name="T63" fmla="*/ 1031661 h 592"/>
                <a:gd name="T64" fmla="*/ 674266 w 512"/>
                <a:gd name="T65" fmla="*/ 1090613 h 592"/>
                <a:gd name="T66" fmla="*/ 726133 w 512"/>
                <a:gd name="T67" fmla="*/ 1016923 h 592"/>
                <a:gd name="T68" fmla="*/ 777999 w 512"/>
                <a:gd name="T69" fmla="*/ 943233 h 592"/>
                <a:gd name="T70" fmla="*/ 812577 w 512"/>
                <a:gd name="T71" fmla="*/ 825329 h 592"/>
                <a:gd name="T72" fmla="*/ 847155 w 512"/>
                <a:gd name="T73" fmla="*/ 810591 h 592"/>
                <a:gd name="T74" fmla="*/ 864444 w 512"/>
                <a:gd name="T75" fmla="*/ 795853 h 592"/>
                <a:gd name="T76" fmla="*/ 933599 w 512"/>
                <a:gd name="T77" fmla="*/ 781115 h 592"/>
                <a:gd name="T78" fmla="*/ 968177 w 512"/>
                <a:gd name="T79" fmla="*/ 751639 h 592"/>
                <a:gd name="T80" fmla="*/ 1002755 w 512"/>
                <a:gd name="T81" fmla="*/ 692687 h 592"/>
                <a:gd name="T82" fmla="*/ 1002755 w 512"/>
                <a:gd name="T83" fmla="*/ 633735 h 592"/>
                <a:gd name="T84" fmla="*/ 1089199 w 512"/>
                <a:gd name="T85" fmla="*/ 412664 h 592"/>
                <a:gd name="T86" fmla="*/ 1106488 w 512"/>
                <a:gd name="T87" fmla="*/ 338974 h 592"/>
                <a:gd name="T88" fmla="*/ 1054621 w 512"/>
                <a:gd name="T89" fmla="*/ 280022 h 592"/>
                <a:gd name="T90" fmla="*/ 916310 w 512"/>
                <a:gd name="T91" fmla="*/ 235808 h 592"/>
                <a:gd name="T92" fmla="*/ 829866 w 512"/>
                <a:gd name="T93" fmla="*/ 221070 h 592"/>
                <a:gd name="T94" fmla="*/ 829866 w 512"/>
                <a:gd name="T95" fmla="*/ 191594 h 592"/>
                <a:gd name="T96" fmla="*/ 795288 w 512"/>
                <a:gd name="T97" fmla="*/ 176856 h 592"/>
                <a:gd name="T98" fmla="*/ 726133 w 512"/>
                <a:gd name="T99" fmla="*/ 162118 h 592"/>
                <a:gd name="T100" fmla="*/ 726133 w 512"/>
                <a:gd name="T101" fmla="*/ 147380 h 592"/>
                <a:gd name="T102" fmla="*/ 656977 w 512"/>
                <a:gd name="T103" fmla="*/ 162118 h 592"/>
                <a:gd name="T104" fmla="*/ 639688 w 512"/>
                <a:gd name="T105" fmla="*/ 176856 h 592"/>
                <a:gd name="T106" fmla="*/ 674266 w 512"/>
                <a:gd name="T107" fmla="*/ 117904 h 592"/>
                <a:gd name="T108" fmla="*/ 656977 w 512"/>
                <a:gd name="T109" fmla="*/ 88428 h 592"/>
                <a:gd name="T110" fmla="*/ 622399 w 512"/>
                <a:gd name="T111" fmla="*/ 29476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12"/>
                <a:gd name="T169" fmla="*/ 0 h 592"/>
                <a:gd name="T170" fmla="*/ 512 w 512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12" h="592">
                  <a:moveTo>
                    <a:pt x="288" y="16"/>
                  </a:moveTo>
                  <a:lnTo>
                    <a:pt x="272" y="48"/>
                  </a:lnTo>
                  <a:lnTo>
                    <a:pt x="256" y="48"/>
                  </a:lnTo>
                  <a:lnTo>
                    <a:pt x="232" y="40"/>
                  </a:lnTo>
                  <a:lnTo>
                    <a:pt x="232" y="48"/>
                  </a:lnTo>
                  <a:lnTo>
                    <a:pt x="224" y="48"/>
                  </a:lnTo>
                  <a:lnTo>
                    <a:pt x="216" y="48"/>
                  </a:lnTo>
                  <a:lnTo>
                    <a:pt x="192" y="56"/>
                  </a:lnTo>
                  <a:lnTo>
                    <a:pt x="184" y="56"/>
                  </a:lnTo>
                  <a:lnTo>
                    <a:pt x="176" y="40"/>
                  </a:lnTo>
                  <a:lnTo>
                    <a:pt x="184" y="16"/>
                  </a:lnTo>
                  <a:lnTo>
                    <a:pt x="176" y="0"/>
                  </a:lnTo>
                  <a:lnTo>
                    <a:pt x="168" y="0"/>
                  </a:lnTo>
                  <a:lnTo>
                    <a:pt x="168" y="8"/>
                  </a:lnTo>
                  <a:lnTo>
                    <a:pt x="136" y="24"/>
                  </a:lnTo>
                  <a:lnTo>
                    <a:pt x="112" y="16"/>
                  </a:lnTo>
                  <a:lnTo>
                    <a:pt x="120" y="24"/>
                  </a:lnTo>
                  <a:lnTo>
                    <a:pt x="120" y="40"/>
                  </a:lnTo>
                  <a:lnTo>
                    <a:pt x="128" y="48"/>
                  </a:lnTo>
                  <a:lnTo>
                    <a:pt x="104" y="64"/>
                  </a:lnTo>
                  <a:lnTo>
                    <a:pt x="88" y="64"/>
                  </a:lnTo>
                  <a:lnTo>
                    <a:pt x="88" y="56"/>
                  </a:lnTo>
                  <a:lnTo>
                    <a:pt x="80" y="48"/>
                  </a:lnTo>
                  <a:lnTo>
                    <a:pt x="48" y="56"/>
                  </a:lnTo>
                  <a:lnTo>
                    <a:pt x="48" y="64"/>
                  </a:lnTo>
                  <a:lnTo>
                    <a:pt x="56" y="72"/>
                  </a:lnTo>
                  <a:lnTo>
                    <a:pt x="40" y="72"/>
                  </a:lnTo>
                  <a:lnTo>
                    <a:pt x="48" y="96"/>
                  </a:lnTo>
                  <a:lnTo>
                    <a:pt x="48" y="144"/>
                  </a:lnTo>
                  <a:lnTo>
                    <a:pt x="16" y="152"/>
                  </a:lnTo>
                  <a:lnTo>
                    <a:pt x="8" y="168"/>
                  </a:lnTo>
                  <a:lnTo>
                    <a:pt x="0" y="192"/>
                  </a:lnTo>
                  <a:lnTo>
                    <a:pt x="8" y="216"/>
                  </a:lnTo>
                  <a:lnTo>
                    <a:pt x="24" y="232"/>
                  </a:lnTo>
                  <a:lnTo>
                    <a:pt x="40" y="224"/>
                  </a:lnTo>
                  <a:lnTo>
                    <a:pt x="40" y="240"/>
                  </a:lnTo>
                  <a:lnTo>
                    <a:pt x="56" y="240"/>
                  </a:lnTo>
                  <a:lnTo>
                    <a:pt x="72" y="248"/>
                  </a:lnTo>
                  <a:lnTo>
                    <a:pt x="88" y="224"/>
                  </a:lnTo>
                  <a:lnTo>
                    <a:pt x="112" y="224"/>
                  </a:lnTo>
                  <a:lnTo>
                    <a:pt x="112" y="248"/>
                  </a:lnTo>
                  <a:lnTo>
                    <a:pt x="120" y="264"/>
                  </a:lnTo>
                  <a:lnTo>
                    <a:pt x="176" y="288"/>
                  </a:lnTo>
                  <a:lnTo>
                    <a:pt x="184" y="304"/>
                  </a:lnTo>
                  <a:lnTo>
                    <a:pt x="184" y="312"/>
                  </a:lnTo>
                  <a:lnTo>
                    <a:pt x="184" y="320"/>
                  </a:lnTo>
                  <a:lnTo>
                    <a:pt x="208" y="328"/>
                  </a:lnTo>
                  <a:lnTo>
                    <a:pt x="208" y="336"/>
                  </a:lnTo>
                  <a:lnTo>
                    <a:pt x="224" y="352"/>
                  </a:lnTo>
                  <a:lnTo>
                    <a:pt x="216" y="384"/>
                  </a:lnTo>
                  <a:lnTo>
                    <a:pt x="224" y="408"/>
                  </a:lnTo>
                  <a:lnTo>
                    <a:pt x="248" y="416"/>
                  </a:lnTo>
                  <a:lnTo>
                    <a:pt x="256" y="416"/>
                  </a:lnTo>
                  <a:lnTo>
                    <a:pt x="256" y="440"/>
                  </a:lnTo>
                  <a:lnTo>
                    <a:pt x="272" y="440"/>
                  </a:lnTo>
                  <a:lnTo>
                    <a:pt x="272" y="464"/>
                  </a:lnTo>
                  <a:lnTo>
                    <a:pt x="280" y="464"/>
                  </a:lnTo>
                  <a:lnTo>
                    <a:pt x="288" y="488"/>
                  </a:lnTo>
                  <a:lnTo>
                    <a:pt x="280" y="496"/>
                  </a:lnTo>
                  <a:lnTo>
                    <a:pt x="248" y="536"/>
                  </a:lnTo>
                  <a:lnTo>
                    <a:pt x="256" y="536"/>
                  </a:lnTo>
                  <a:lnTo>
                    <a:pt x="272" y="552"/>
                  </a:lnTo>
                  <a:lnTo>
                    <a:pt x="272" y="544"/>
                  </a:lnTo>
                  <a:lnTo>
                    <a:pt x="304" y="560"/>
                  </a:lnTo>
                  <a:lnTo>
                    <a:pt x="312" y="576"/>
                  </a:lnTo>
                  <a:lnTo>
                    <a:pt x="312" y="592"/>
                  </a:lnTo>
                  <a:lnTo>
                    <a:pt x="320" y="568"/>
                  </a:lnTo>
                  <a:lnTo>
                    <a:pt x="336" y="552"/>
                  </a:lnTo>
                  <a:lnTo>
                    <a:pt x="344" y="528"/>
                  </a:lnTo>
                  <a:lnTo>
                    <a:pt x="360" y="512"/>
                  </a:lnTo>
                  <a:lnTo>
                    <a:pt x="352" y="472"/>
                  </a:lnTo>
                  <a:lnTo>
                    <a:pt x="376" y="448"/>
                  </a:lnTo>
                  <a:lnTo>
                    <a:pt x="384" y="440"/>
                  </a:lnTo>
                  <a:lnTo>
                    <a:pt x="392" y="440"/>
                  </a:lnTo>
                  <a:lnTo>
                    <a:pt x="392" y="432"/>
                  </a:lnTo>
                  <a:lnTo>
                    <a:pt x="400" y="432"/>
                  </a:lnTo>
                  <a:lnTo>
                    <a:pt x="400" y="424"/>
                  </a:lnTo>
                  <a:lnTo>
                    <a:pt x="432" y="424"/>
                  </a:lnTo>
                  <a:lnTo>
                    <a:pt x="432" y="416"/>
                  </a:lnTo>
                  <a:lnTo>
                    <a:pt x="448" y="408"/>
                  </a:lnTo>
                  <a:lnTo>
                    <a:pt x="448" y="400"/>
                  </a:lnTo>
                  <a:lnTo>
                    <a:pt x="464" y="376"/>
                  </a:lnTo>
                  <a:lnTo>
                    <a:pt x="464" y="352"/>
                  </a:lnTo>
                  <a:lnTo>
                    <a:pt x="464" y="344"/>
                  </a:lnTo>
                  <a:lnTo>
                    <a:pt x="464" y="280"/>
                  </a:lnTo>
                  <a:lnTo>
                    <a:pt x="504" y="224"/>
                  </a:lnTo>
                  <a:lnTo>
                    <a:pt x="512" y="200"/>
                  </a:lnTo>
                  <a:lnTo>
                    <a:pt x="512" y="184"/>
                  </a:lnTo>
                  <a:lnTo>
                    <a:pt x="504" y="160"/>
                  </a:lnTo>
                  <a:lnTo>
                    <a:pt x="488" y="152"/>
                  </a:lnTo>
                  <a:lnTo>
                    <a:pt x="448" y="120"/>
                  </a:lnTo>
                  <a:lnTo>
                    <a:pt x="424" y="128"/>
                  </a:lnTo>
                  <a:lnTo>
                    <a:pt x="400" y="112"/>
                  </a:lnTo>
                  <a:lnTo>
                    <a:pt x="384" y="120"/>
                  </a:lnTo>
                  <a:lnTo>
                    <a:pt x="384" y="112"/>
                  </a:lnTo>
                  <a:lnTo>
                    <a:pt x="384" y="104"/>
                  </a:lnTo>
                  <a:lnTo>
                    <a:pt x="376" y="104"/>
                  </a:lnTo>
                  <a:lnTo>
                    <a:pt x="368" y="96"/>
                  </a:lnTo>
                  <a:lnTo>
                    <a:pt x="344" y="88"/>
                  </a:lnTo>
                  <a:lnTo>
                    <a:pt x="336" y="88"/>
                  </a:lnTo>
                  <a:lnTo>
                    <a:pt x="328" y="104"/>
                  </a:lnTo>
                  <a:lnTo>
                    <a:pt x="336" y="80"/>
                  </a:lnTo>
                  <a:lnTo>
                    <a:pt x="328" y="80"/>
                  </a:lnTo>
                  <a:lnTo>
                    <a:pt x="304" y="88"/>
                  </a:lnTo>
                  <a:lnTo>
                    <a:pt x="304" y="104"/>
                  </a:lnTo>
                  <a:lnTo>
                    <a:pt x="296" y="96"/>
                  </a:lnTo>
                  <a:lnTo>
                    <a:pt x="296" y="80"/>
                  </a:lnTo>
                  <a:lnTo>
                    <a:pt x="312" y="64"/>
                  </a:lnTo>
                  <a:lnTo>
                    <a:pt x="312" y="56"/>
                  </a:lnTo>
                  <a:lnTo>
                    <a:pt x="304" y="48"/>
                  </a:lnTo>
                  <a:lnTo>
                    <a:pt x="296" y="24"/>
                  </a:lnTo>
                  <a:lnTo>
                    <a:pt x="288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Freeform 138">
              <a:extLst>
                <a:ext uri="{FF2B5EF4-FFF2-40B4-BE49-F238E27FC236}">
                  <a16:creationId xmlns:a16="http://schemas.microsoft.com/office/drawing/2014/main" id="{9FF88589-5793-4F13-94EE-BCFFCC23F7B6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4081177" y="6137751"/>
              <a:ext cx="152184" cy="94760"/>
            </a:xfrm>
            <a:custGeom>
              <a:avLst/>
              <a:gdLst>
                <a:gd name="T0" fmla="*/ 0 w 56"/>
                <a:gd name="T1" fmla="*/ 0 h 40"/>
                <a:gd name="T2" fmla="*/ 34471 w 56"/>
                <a:gd name="T3" fmla="*/ 29210 h 40"/>
                <a:gd name="T4" fmla="*/ 120650 w 56"/>
                <a:gd name="T5" fmla="*/ 58420 h 40"/>
                <a:gd name="T6" fmla="*/ 68943 w 56"/>
                <a:gd name="T7" fmla="*/ 73025 h 40"/>
                <a:gd name="T8" fmla="*/ 51707 w 56"/>
                <a:gd name="T9" fmla="*/ 73025 h 40"/>
                <a:gd name="T10" fmla="*/ 0 w 56"/>
                <a:gd name="T11" fmla="*/ 0 h 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6"/>
                <a:gd name="T19" fmla="*/ 0 h 40"/>
                <a:gd name="T20" fmla="*/ 56 w 56"/>
                <a:gd name="T21" fmla="*/ 40 h 4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6" h="40">
                  <a:moveTo>
                    <a:pt x="0" y="0"/>
                  </a:moveTo>
                  <a:lnTo>
                    <a:pt x="16" y="16"/>
                  </a:lnTo>
                  <a:lnTo>
                    <a:pt x="56" y="32"/>
                  </a:lnTo>
                  <a:lnTo>
                    <a:pt x="32" y="40"/>
                  </a:lnTo>
                  <a:lnTo>
                    <a:pt x="24" y="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Freeform 139">
              <a:extLst>
                <a:ext uri="{FF2B5EF4-FFF2-40B4-BE49-F238E27FC236}">
                  <a16:creationId xmlns:a16="http://schemas.microsoft.com/office/drawing/2014/main" id="{9227BED7-3181-4BF3-88B4-EB5A1BF037BC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3949017" y="6137751"/>
              <a:ext cx="196237" cy="94760"/>
            </a:xfrm>
            <a:custGeom>
              <a:avLst/>
              <a:gdLst>
                <a:gd name="T0" fmla="*/ 103717 w 72"/>
                <a:gd name="T1" fmla="*/ 0 h 40"/>
                <a:gd name="T2" fmla="*/ 69144 w 72"/>
                <a:gd name="T3" fmla="*/ 0 h 40"/>
                <a:gd name="T4" fmla="*/ 86431 w 72"/>
                <a:gd name="T5" fmla="*/ 14605 h 40"/>
                <a:gd name="T6" fmla="*/ 103717 w 72"/>
                <a:gd name="T7" fmla="*/ 14605 h 40"/>
                <a:gd name="T8" fmla="*/ 86431 w 72"/>
                <a:gd name="T9" fmla="*/ 29210 h 40"/>
                <a:gd name="T10" fmla="*/ 86431 w 72"/>
                <a:gd name="T11" fmla="*/ 43815 h 40"/>
                <a:gd name="T12" fmla="*/ 0 w 72"/>
                <a:gd name="T13" fmla="*/ 14605 h 40"/>
                <a:gd name="T14" fmla="*/ 0 w 72"/>
                <a:gd name="T15" fmla="*/ 29210 h 40"/>
                <a:gd name="T16" fmla="*/ 17286 w 72"/>
                <a:gd name="T17" fmla="*/ 43815 h 40"/>
                <a:gd name="T18" fmla="*/ 34572 w 72"/>
                <a:gd name="T19" fmla="*/ 43815 h 40"/>
                <a:gd name="T20" fmla="*/ 86431 w 72"/>
                <a:gd name="T21" fmla="*/ 58420 h 40"/>
                <a:gd name="T22" fmla="*/ 121003 w 72"/>
                <a:gd name="T23" fmla="*/ 58420 h 40"/>
                <a:gd name="T24" fmla="*/ 121003 w 72"/>
                <a:gd name="T25" fmla="*/ 73025 h 40"/>
                <a:gd name="T26" fmla="*/ 155575 w 72"/>
                <a:gd name="T27" fmla="*/ 73025 h 40"/>
                <a:gd name="T28" fmla="*/ 103717 w 72"/>
                <a:gd name="T29" fmla="*/ 0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2"/>
                <a:gd name="T46" fmla="*/ 0 h 40"/>
                <a:gd name="T47" fmla="*/ 72 w 72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2" h="40">
                  <a:moveTo>
                    <a:pt x="48" y="0"/>
                  </a:moveTo>
                  <a:lnTo>
                    <a:pt x="32" y="0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0" y="16"/>
                  </a:lnTo>
                  <a:lnTo>
                    <a:pt x="40" y="24"/>
                  </a:lnTo>
                  <a:lnTo>
                    <a:pt x="0" y="8"/>
                  </a:lnTo>
                  <a:lnTo>
                    <a:pt x="0" y="16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40" y="32"/>
                  </a:lnTo>
                  <a:lnTo>
                    <a:pt x="56" y="32"/>
                  </a:lnTo>
                  <a:lnTo>
                    <a:pt x="56" y="40"/>
                  </a:lnTo>
                  <a:lnTo>
                    <a:pt x="72" y="4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Freeform 140">
              <a:extLst>
                <a:ext uri="{FF2B5EF4-FFF2-40B4-BE49-F238E27FC236}">
                  <a16:creationId xmlns:a16="http://schemas.microsoft.com/office/drawing/2014/main" id="{C76355D5-38D2-41CB-B312-41D3F7F4C67D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3208122" y="4240485"/>
              <a:ext cx="480581" cy="650962"/>
            </a:xfrm>
            <a:custGeom>
              <a:avLst/>
              <a:gdLst>
                <a:gd name="T0" fmla="*/ 17318 w 176"/>
                <a:gd name="T1" fmla="*/ 88526 h 272"/>
                <a:gd name="T2" fmla="*/ 0 w 176"/>
                <a:gd name="T3" fmla="*/ 118035 h 272"/>
                <a:gd name="T4" fmla="*/ 17318 w 176"/>
                <a:gd name="T5" fmla="*/ 162299 h 272"/>
                <a:gd name="T6" fmla="*/ 0 w 176"/>
                <a:gd name="T7" fmla="*/ 162299 h 272"/>
                <a:gd name="T8" fmla="*/ 34636 w 176"/>
                <a:gd name="T9" fmla="*/ 191807 h 272"/>
                <a:gd name="T10" fmla="*/ 69273 w 176"/>
                <a:gd name="T11" fmla="*/ 236071 h 272"/>
                <a:gd name="T12" fmla="*/ 173182 w 176"/>
                <a:gd name="T13" fmla="*/ 413123 h 272"/>
                <a:gd name="T14" fmla="*/ 329045 w 176"/>
                <a:gd name="T15" fmla="*/ 501650 h 272"/>
                <a:gd name="T16" fmla="*/ 363682 w 176"/>
                <a:gd name="T17" fmla="*/ 486896 h 272"/>
                <a:gd name="T18" fmla="*/ 381000 w 176"/>
                <a:gd name="T19" fmla="*/ 457387 h 272"/>
                <a:gd name="T20" fmla="*/ 363682 w 176"/>
                <a:gd name="T21" fmla="*/ 442632 h 272"/>
                <a:gd name="T22" fmla="*/ 363682 w 176"/>
                <a:gd name="T23" fmla="*/ 339351 h 272"/>
                <a:gd name="T24" fmla="*/ 346364 w 176"/>
                <a:gd name="T25" fmla="*/ 295088 h 272"/>
                <a:gd name="T26" fmla="*/ 311727 w 176"/>
                <a:gd name="T27" fmla="*/ 295088 h 272"/>
                <a:gd name="T28" fmla="*/ 311727 w 176"/>
                <a:gd name="T29" fmla="*/ 265579 h 272"/>
                <a:gd name="T30" fmla="*/ 277091 w 176"/>
                <a:gd name="T31" fmla="*/ 280334 h 272"/>
                <a:gd name="T32" fmla="*/ 242455 w 176"/>
                <a:gd name="T33" fmla="*/ 250825 h 272"/>
                <a:gd name="T34" fmla="*/ 225136 w 176"/>
                <a:gd name="T35" fmla="*/ 206562 h 272"/>
                <a:gd name="T36" fmla="*/ 242455 w 176"/>
                <a:gd name="T37" fmla="*/ 162299 h 272"/>
                <a:gd name="T38" fmla="*/ 259773 w 176"/>
                <a:gd name="T39" fmla="*/ 132790 h 272"/>
                <a:gd name="T40" fmla="*/ 329045 w 176"/>
                <a:gd name="T41" fmla="*/ 118035 h 272"/>
                <a:gd name="T42" fmla="*/ 311727 w 176"/>
                <a:gd name="T43" fmla="*/ 103281 h 272"/>
                <a:gd name="T44" fmla="*/ 311727 w 176"/>
                <a:gd name="T45" fmla="*/ 73772 h 272"/>
                <a:gd name="T46" fmla="*/ 294409 w 176"/>
                <a:gd name="T47" fmla="*/ 59018 h 272"/>
                <a:gd name="T48" fmla="*/ 225136 w 176"/>
                <a:gd name="T49" fmla="*/ 73772 h 272"/>
                <a:gd name="T50" fmla="*/ 207818 w 176"/>
                <a:gd name="T51" fmla="*/ 29509 h 272"/>
                <a:gd name="T52" fmla="*/ 173182 w 176"/>
                <a:gd name="T53" fmla="*/ 0 h 272"/>
                <a:gd name="T54" fmla="*/ 155864 w 176"/>
                <a:gd name="T55" fmla="*/ 0 h 272"/>
                <a:gd name="T56" fmla="*/ 173182 w 176"/>
                <a:gd name="T57" fmla="*/ 29509 h 272"/>
                <a:gd name="T58" fmla="*/ 155864 w 176"/>
                <a:gd name="T59" fmla="*/ 44263 h 272"/>
                <a:gd name="T60" fmla="*/ 138545 w 176"/>
                <a:gd name="T61" fmla="*/ 73772 h 272"/>
                <a:gd name="T62" fmla="*/ 86591 w 176"/>
                <a:gd name="T63" fmla="*/ 88526 h 272"/>
                <a:gd name="T64" fmla="*/ 51955 w 176"/>
                <a:gd name="T65" fmla="*/ 132790 h 272"/>
                <a:gd name="T66" fmla="*/ 17318 w 176"/>
                <a:gd name="T67" fmla="*/ 118035 h 272"/>
                <a:gd name="T68" fmla="*/ 17318 w 176"/>
                <a:gd name="T69" fmla="*/ 88526 h 2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6"/>
                <a:gd name="T106" fmla="*/ 0 h 272"/>
                <a:gd name="T107" fmla="*/ 176 w 176"/>
                <a:gd name="T108" fmla="*/ 272 h 2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6" h="272">
                  <a:moveTo>
                    <a:pt x="8" y="48"/>
                  </a:moveTo>
                  <a:lnTo>
                    <a:pt x="0" y="64"/>
                  </a:lnTo>
                  <a:lnTo>
                    <a:pt x="8" y="88"/>
                  </a:lnTo>
                  <a:lnTo>
                    <a:pt x="0" y="88"/>
                  </a:lnTo>
                  <a:lnTo>
                    <a:pt x="16" y="104"/>
                  </a:lnTo>
                  <a:lnTo>
                    <a:pt x="32" y="128"/>
                  </a:lnTo>
                  <a:lnTo>
                    <a:pt x="80" y="224"/>
                  </a:lnTo>
                  <a:lnTo>
                    <a:pt x="152" y="272"/>
                  </a:lnTo>
                  <a:lnTo>
                    <a:pt x="168" y="264"/>
                  </a:lnTo>
                  <a:lnTo>
                    <a:pt x="176" y="248"/>
                  </a:lnTo>
                  <a:lnTo>
                    <a:pt x="168" y="240"/>
                  </a:lnTo>
                  <a:lnTo>
                    <a:pt x="168" y="184"/>
                  </a:lnTo>
                  <a:lnTo>
                    <a:pt x="160" y="160"/>
                  </a:lnTo>
                  <a:lnTo>
                    <a:pt x="144" y="160"/>
                  </a:lnTo>
                  <a:lnTo>
                    <a:pt x="144" y="144"/>
                  </a:lnTo>
                  <a:lnTo>
                    <a:pt x="128" y="152"/>
                  </a:lnTo>
                  <a:lnTo>
                    <a:pt x="112" y="136"/>
                  </a:lnTo>
                  <a:lnTo>
                    <a:pt x="104" y="112"/>
                  </a:lnTo>
                  <a:lnTo>
                    <a:pt x="112" y="88"/>
                  </a:lnTo>
                  <a:lnTo>
                    <a:pt x="120" y="72"/>
                  </a:lnTo>
                  <a:lnTo>
                    <a:pt x="152" y="64"/>
                  </a:lnTo>
                  <a:lnTo>
                    <a:pt x="144" y="56"/>
                  </a:lnTo>
                  <a:lnTo>
                    <a:pt x="144" y="40"/>
                  </a:lnTo>
                  <a:lnTo>
                    <a:pt x="136" y="32"/>
                  </a:lnTo>
                  <a:lnTo>
                    <a:pt x="104" y="40"/>
                  </a:lnTo>
                  <a:lnTo>
                    <a:pt x="96" y="16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80" y="16"/>
                  </a:lnTo>
                  <a:lnTo>
                    <a:pt x="72" y="24"/>
                  </a:lnTo>
                  <a:lnTo>
                    <a:pt x="64" y="40"/>
                  </a:lnTo>
                  <a:lnTo>
                    <a:pt x="40" y="48"/>
                  </a:lnTo>
                  <a:lnTo>
                    <a:pt x="24" y="72"/>
                  </a:lnTo>
                  <a:lnTo>
                    <a:pt x="8" y="64"/>
                  </a:lnTo>
                  <a:lnTo>
                    <a:pt x="8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Freeform 141">
              <a:extLst>
                <a:ext uri="{FF2B5EF4-FFF2-40B4-BE49-F238E27FC236}">
                  <a16:creationId xmlns:a16="http://schemas.microsoft.com/office/drawing/2014/main" id="{7687E866-BADF-49E3-9733-1A797858F7C3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3208122" y="4184864"/>
              <a:ext cx="218264" cy="228661"/>
            </a:xfrm>
            <a:custGeom>
              <a:avLst/>
              <a:gdLst>
                <a:gd name="T0" fmla="*/ 17304 w 80"/>
                <a:gd name="T1" fmla="*/ 132160 h 96"/>
                <a:gd name="T2" fmla="*/ 17304 w 80"/>
                <a:gd name="T3" fmla="*/ 161529 h 96"/>
                <a:gd name="T4" fmla="*/ 51911 w 80"/>
                <a:gd name="T5" fmla="*/ 176213 h 96"/>
                <a:gd name="T6" fmla="*/ 86519 w 80"/>
                <a:gd name="T7" fmla="*/ 132160 h 96"/>
                <a:gd name="T8" fmla="*/ 138430 w 80"/>
                <a:gd name="T9" fmla="*/ 117475 h 96"/>
                <a:gd name="T10" fmla="*/ 155734 w 80"/>
                <a:gd name="T11" fmla="*/ 88107 h 96"/>
                <a:gd name="T12" fmla="*/ 173038 w 80"/>
                <a:gd name="T13" fmla="*/ 73422 h 96"/>
                <a:gd name="T14" fmla="*/ 155734 w 80"/>
                <a:gd name="T15" fmla="*/ 44053 h 96"/>
                <a:gd name="T16" fmla="*/ 173038 w 80"/>
                <a:gd name="T17" fmla="*/ 44053 h 96"/>
                <a:gd name="T18" fmla="*/ 155734 w 80"/>
                <a:gd name="T19" fmla="*/ 29369 h 96"/>
                <a:gd name="T20" fmla="*/ 103823 w 80"/>
                <a:gd name="T21" fmla="*/ 44053 h 96"/>
                <a:gd name="T22" fmla="*/ 69215 w 80"/>
                <a:gd name="T23" fmla="*/ 0 h 96"/>
                <a:gd name="T24" fmla="*/ 34608 w 80"/>
                <a:gd name="T25" fmla="*/ 29369 h 96"/>
                <a:gd name="T26" fmla="*/ 34608 w 80"/>
                <a:gd name="T27" fmla="*/ 44053 h 96"/>
                <a:gd name="T28" fmla="*/ 17304 w 80"/>
                <a:gd name="T29" fmla="*/ 44053 h 96"/>
                <a:gd name="T30" fmla="*/ 17304 w 80"/>
                <a:gd name="T31" fmla="*/ 58738 h 96"/>
                <a:gd name="T32" fmla="*/ 0 w 80"/>
                <a:gd name="T33" fmla="*/ 73422 h 96"/>
                <a:gd name="T34" fmla="*/ 0 w 80"/>
                <a:gd name="T35" fmla="*/ 102791 h 96"/>
                <a:gd name="T36" fmla="*/ 34608 w 80"/>
                <a:gd name="T37" fmla="*/ 132160 h 96"/>
                <a:gd name="T38" fmla="*/ 34608 w 80"/>
                <a:gd name="T39" fmla="*/ 117475 h 96"/>
                <a:gd name="T40" fmla="*/ 34608 w 80"/>
                <a:gd name="T41" fmla="*/ 132160 h 96"/>
                <a:gd name="T42" fmla="*/ 17304 w 80"/>
                <a:gd name="T43" fmla="*/ 132160 h 9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0"/>
                <a:gd name="T67" fmla="*/ 0 h 96"/>
                <a:gd name="T68" fmla="*/ 80 w 80"/>
                <a:gd name="T69" fmla="*/ 96 h 9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0" h="96">
                  <a:moveTo>
                    <a:pt x="8" y="72"/>
                  </a:moveTo>
                  <a:lnTo>
                    <a:pt x="8" y="88"/>
                  </a:lnTo>
                  <a:lnTo>
                    <a:pt x="24" y="96"/>
                  </a:lnTo>
                  <a:lnTo>
                    <a:pt x="40" y="72"/>
                  </a:lnTo>
                  <a:lnTo>
                    <a:pt x="64" y="64"/>
                  </a:lnTo>
                  <a:lnTo>
                    <a:pt x="72" y="48"/>
                  </a:lnTo>
                  <a:lnTo>
                    <a:pt x="80" y="40"/>
                  </a:lnTo>
                  <a:lnTo>
                    <a:pt x="72" y="24"/>
                  </a:lnTo>
                  <a:lnTo>
                    <a:pt x="80" y="24"/>
                  </a:lnTo>
                  <a:lnTo>
                    <a:pt x="72" y="16"/>
                  </a:lnTo>
                  <a:lnTo>
                    <a:pt x="48" y="24"/>
                  </a:lnTo>
                  <a:lnTo>
                    <a:pt x="32" y="0"/>
                  </a:lnTo>
                  <a:lnTo>
                    <a:pt x="16" y="16"/>
                  </a:lnTo>
                  <a:lnTo>
                    <a:pt x="16" y="24"/>
                  </a:lnTo>
                  <a:lnTo>
                    <a:pt x="8" y="24"/>
                  </a:lnTo>
                  <a:lnTo>
                    <a:pt x="8" y="32"/>
                  </a:lnTo>
                  <a:lnTo>
                    <a:pt x="0" y="40"/>
                  </a:lnTo>
                  <a:lnTo>
                    <a:pt x="0" y="5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72"/>
                  </a:lnTo>
                  <a:lnTo>
                    <a:pt x="8" y="7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Freeform 142">
              <a:extLst>
                <a:ext uri="{FF2B5EF4-FFF2-40B4-BE49-F238E27FC236}">
                  <a16:creationId xmlns:a16="http://schemas.microsoft.com/office/drawing/2014/main" id="{857403DD-3C9E-40E6-9A89-93CE713404D9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3274201" y="3781103"/>
              <a:ext cx="456552" cy="613882"/>
            </a:xfrm>
            <a:custGeom>
              <a:avLst/>
              <a:gdLst>
                <a:gd name="T0" fmla="*/ 17236 w 168"/>
                <a:gd name="T1" fmla="*/ 310455 h 256"/>
                <a:gd name="T2" fmla="*/ 0 w 168"/>
                <a:gd name="T3" fmla="*/ 310455 h 256"/>
                <a:gd name="T4" fmla="*/ 17236 w 168"/>
                <a:gd name="T5" fmla="*/ 310455 h 256"/>
                <a:gd name="T6" fmla="*/ 34471 w 168"/>
                <a:gd name="T7" fmla="*/ 280888 h 256"/>
                <a:gd name="T8" fmla="*/ 51707 w 168"/>
                <a:gd name="T9" fmla="*/ 280888 h 256"/>
                <a:gd name="T10" fmla="*/ 68943 w 168"/>
                <a:gd name="T11" fmla="*/ 251321 h 256"/>
                <a:gd name="T12" fmla="*/ 51707 w 168"/>
                <a:gd name="T13" fmla="*/ 236538 h 256"/>
                <a:gd name="T14" fmla="*/ 51707 w 168"/>
                <a:gd name="T15" fmla="*/ 162620 h 256"/>
                <a:gd name="T16" fmla="*/ 51707 w 168"/>
                <a:gd name="T17" fmla="*/ 147836 h 256"/>
                <a:gd name="T18" fmla="*/ 68943 w 168"/>
                <a:gd name="T19" fmla="*/ 133052 h 256"/>
                <a:gd name="T20" fmla="*/ 68943 w 168"/>
                <a:gd name="T21" fmla="*/ 118269 h 256"/>
                <a:gd name="T22" fmla="*/ 86179 w 168"/>
                <a:gd name="T23" fmla="*/ 133052 h 256"/>
                <a:gd name="T24" fmla="*/ 86179 w 168"/>
                <a:gd name="T25" fmla="*/ 118269 h 256"/>
                <a:gd name="T26" fmla="*/ 120650 w 168"/>
                <a:gd name="T27" fmla="*/ 88702 h 256"/>
                <a:gd name="T28" fmla="*/ 120650 w 168"/>
                <a:gd name="T29" fmla="*/ 44351 h 256"/>
                <a:gd name="T30" fmla="*/ 155121 w 168"/>
                <a:gd name="T31" fmla="*/ 44351 h 256"/>
                <a:gd name="T32" fmla="*/ 172357 w 168"/>
                <a:gd name="T33" fmla="*/ 44351 h 256"/>
                <a:gd name="T34" fmla="*/ 241300 w 168"/>
                <a:gd name="T35" fmla="*/ 0 h 256"/>
                <a:gd name="T36" fmla="*/ 241300 w 168"/>
                <a:gd name="T37" fmla="*/ 14784 h 256"/>
                <a:gd name="T38" fmla="*/ 224064 w 168"/>
                <a:gd name="T39" fmla="*/ 29567 h 256"/>
                <a:gd name="T40" fmla="*/ 206829 w 168"/>
                <a:gd name="T41" fmla="*/ 44351 h 256"/>
                <a:gd name="T42" fmla="*/ 189593 w 168"/>
                <a:gd name="T43" fmla="*/ 88702 h 256"/>
                <a:gd name="T44" fmla="*/ 206829 w 168"/>
                <a:gd name="T45" fmla="*/ 133052 h 256"/>
                <a:gd name="T46" fmla="*/ 206829 w 168"/>
                <a:gd name="T47" fmla="*/ 147836 h 256"/>
                <a:gd name="T48" fmla="*/ 224064 w 168"/>
                <a:gd name="T49" fmla="*/ 147836 h 256"/>
                <a:gd name="T50" fmla="*/ 275771 w 168"/>
                <a:gd name="T51" fmla="*/ 162620 h 256"/>
                <a:gd name="T52" fmla="*/ 293007 w 168"/>
                <a:gd name="T53" fmla="*/ 177403 h 256"/>
                <a:gd name="T54" fmla="*/ 344714 w 168"/>
                <a:gd name="T55" fmla="*/ 177403 h 256"/>
                <a:gd name="T56" fmla="*/ 327479 w 168"/>
                <a:gd name="T57" fmla="*/ 221754 h 256"/>
                <a:gd name="T58" fmla="*/ 344714 w 168"/>
                <a:gd name="T59" fmla="*/ 266105 h 256"/>
                <a:gd name="T60" fmla="*/ 327479 w 168"/>
                <a:gd name="T61" fmla="*/ 266105 h 256"/>
                <a:gd name="T62" fmla="*/ 361950 w 168"/>
                <a:gd name="T63" fmla="*/ 310455 h 256"/>
                <a:gd name="T64" fmla="*/ 344714 w 168"/>
                <a:gd name="T65" fmla="*/ 295672 h 256"/>
                <a:gd name="T66" fmla="*/ 275771 w 168"/>
                <a:gd name="T67" fmla="*/ 310455 h 256"/>
                <a:gd name="T68" fmla="*/ 275771 w 168"/>
                <a:gd name="T69" fmla="*/ 325239 h 256"/>
                <a:gd name="T70" fmla="*/ 293007 w 168"/>
                <a:gd name="T71" fmla="*/ 340023 h 256"/>
                <a:gd name="T72" fmla="*/ 258536 w 168"/>
                <a:gd name="T73" fmla="*/ 340023 h 256"/>
                <a:gd name="T74" fmla="*/ 275771 w 168"/>
                <a:gd name="T75" fmla="*/ 384373 h 256"/>
                <a:gd name="T76" fmla="*/ 275771 w 168"/>
                <a:gd name="T77" fmla="*/ 473075 h 256"/>
                <a:gd name="T78" fmla="*/ 258536 w 168"/>
                <a:gd name="T79" fmla="*/ 458291 h 256"/>
                <a:gd name="T80" fmla="*/ 258536 w 168"/>
                <a:gd name="T81" fmla="*/ 428724 h 256"/>
                <a:gd name="T82" fmla="*/ 241300 w 168"/>
                <a:gd name="T83" fmla="*/ 413941 h 256"/>
                <a:gd name="T84" fmla="*/ 172357 w 168"/>
                <a:gd name="T85" fmla="*/ 428724 h 256"/>
                <a:gd name="T86" fmla="*/ 155121 w 168"/>
                <a:gd name="T87" fmla="*/ 384373 h 256"/>
                <a:gd name="T88" fmla="*/ 120650 w 168"/>
                <a:gd name="T89" fmla="*/ 354806 h 256"/>
                <a:gd name="T90" fmla="*/ 103414 w 168"/>
                <a:gd name="T91" fmla="*/ 340023 h 256"/>
                <a:gd name="T92" fmla="*/ 51707 w 168"/>
                <a:gd name="T93" fmla="*/ 354806 h 256"/>
                <a:gd name="T94" fmla="*/ 17236 w 168"/>
                <a:gd name="T95" fmla="*/ 310455 h 25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68"/>
                <a:gd name="T145" fmla="*/ 0 h 256"/>
                <a:gd name="T146" fmla="*/ 168 w 168"/>
                <a:gd name="T147" fmla="*/ 256 h 25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68" h="256">
                  <a:moveTo>
                    <a:pt x="8" y="168"/>
                  </a:moveTo>
                  <a:lnTo>
                    <a:pt x="0" y="168"/>
                  </a:lnTo>
                  <a:lnTo>
                    <a:pt x="8" y="168"/>
                  </a:lnTo>
                  <a:lnTo>
                    <a:pt x="16" y="152"/>
                  </a:lnTo>
                  <a:lnTo>
                    <a:pt x="24" y="152"/>
                  </a:lnTo>
                  <a:lnTo>
                    <a:pt x="32" y="136"/>
                  </a:lnTo>
                  <a:lnTo>
                    <a:pt x="24" y="128"/>
                  </a:lnTo>
                  <a:lnTo>
                    <a:pt x="24" y="88"/>
                  </a:lnTo>
                  <a:lnTo>
                    <a:pt x="24" y="80"/>
                  </a:lnTo>
                  <a:lnTo>
                    <a:pt x="32" y="72"/>
                  </a:lnTo>
                  <a:lnTo>
                    <a:pt x="32" y="64"/>
                  </a:lnTo>
                  <a:lnTo>
                    <a:pt x="40" y="72"/>
                  </a:lnTo>
                  <a:lnTo>
                    <a:pt x="40" y="64"/>
                  </a:lnTo>
                  <a:lnTo>
                    <a:pt x="56" y="48"/>
                  </a:lnTo>
                  <a:lnTo>
                    <a:pt x="56" y="24"/>
                  </a:lnTo>
                  <a:lnTo>
                    <a:pt x="72" y="24"/>
                  </a:lnTo>
                  <a:lnTo>
                    <a:pt x="80" y="24"/>
                  </a:lnTo>
                  <a:lnTo>
                    <a:pt x="112" y="0"/>
                  </a:lnTo>
                  <a:lnTo>
                    <a:pt x="112" y="8"/>
                  </a:lnTo>
                  <a:lnTo>
                    <a:pt x="104" y="16"/>
                  </a:lnTo>
                  <a:lnTo>
                    <a:pt x="96" y="24"/>
                  </a:lnTo>
                  <a:lnTo>
                    <a:pt x="88" y="48"/>
                  </a:lnTo>
                  <a:lnTo>
                    <a:pt x="96" y="72"/>
                  </a:lnTo>
                  <a:lnTo>
                    <a:pt x="96" y="80"/>
                  </a:lnTo>
                  <a:lnTo>
                    <a:pt x="104" y="80"/>
                  </a:lnTo>
                  <a:lnTo>
                    <a:pt x="128" y="88"/>
                  </a:lnTo>
                  <a:lnTo>
                    <a:pt x="136" y="96"/>
                  </a:lnTo>
                  <a:lnTo>
                    <a:pt x="160" y="96"/>
                  </a:lnTo>
                  <a:lnTo>
                    <a:pt x="152" y="120"/>
                  </a:lnTo>
                  <a:lnTo>
                    <a:pt x="160" y="144"/>
                  </a:lnTo>
                  <a:lnTo>
                    <a:pt x="152" y="144"/>
                  </a:lnTo>
                  <a:lnTo>
                    <a:pt x="168" y="168"/>
                  </a:lnTo>
                  <a:lnTo>
                    <a:pt x="160" y="160"/>
                  </a:lnTo>
                  <a:lnTo>
                    <a:pt x="128" y="168"/>
                  </a:lnTo>
                  <a:lnTo>
                    <a:pt x="128" y="176"/>
                  </a:lnTo>
                  <a:lnTo>
                    <a:pt x="136" y="184"/>
                  </a:lnTo>
                  <a:lnTo>
                    <a:pt x="120" y="184"/>
                  </a:lnTo>
                  <a:lnTo>
                    <a:pt x="128" y="208"/>
                  </a:lnTo>
                  <a:lnTo>
                    <a:pt x="128" y="256"/>
                  </a:lnTo>
                  <a:lnTo>
                    <a:pt x="120" y="248"/>
                  </a:lnTo>
                  <a:lnTo>
                    <a:pt x="120" y="232"/>
                  </a:lnTo>
                  <a:lnTo>
                    <a:pt x="112" y="224"/>
                  </a:lnTo>
                  <a:lnTo>
                    <a:pt x="80" y="232"/>
                  </a:lnTo>
                  <a:lnTo>
                    <a:pt x="72" y="208"/>
                  </a:lnTo>
                  <a:lnTo>
                    <a:pt x="56" y="192"/>
                  </a:lnTo>
                  <a:lnTo>
                    <a:pt x="48" y="184"/>
                  </a:lnTo>
                  <a:lnTo>
                    <a:pt x="24" y="192"/>
                  </a:lnTo>
                  <a:lnTo>
                    <a:pt x="8" y="16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Freeform 143">
              <a:extLst>
                <a:ext uri="{FF2B5EF4-FFF2-40B4-BE49-F238E27FC236}">
                  <a16:creationId xmlns:a16="http://schemas.microsoft.com/office/drawing/2014/main" id="{5D13DDA0-D566-43DE-B2A1-F142E9D997A0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3512490" y="3801703"/>
              <a:ext cx="480581" cy="401702"/>
            </a:xfrm>
            <a:custGeom>
              <a:avLst/>
              <a:gdLst>
                <a:gd name="T0" fmla="*/ 381000 w 176"/>
                <a:gd name="T1" fmla="*/ 103188 h 168"/>
                <a:gd name="T2" fmla="*/ 346364 w 176"/>
                <a:gd name="T3" fmla="*/ 117929 h 168"/>
                <a:gd name="T4" fmla="*/ 346364 w 176"/>
                <a:gd name="T5" fmla="*/ 132670 h 168"/>
                <a:gd name="T6" fmla="*/ 363682 w 176"/>
                <a:gd name="T7" fmla="*/ 147411 h 168"/>
                <a:gd name="T8" fmla="*/ 346364 w 176"/>
                <a:gd name="T9" fmla="*/ 147411 h 168"/>
                <a:gd name="T10" fmla="*/ 329045 w 176"/>
                <a:gd name="T11" fmla="*/ 176893 h 168"/>
                <a:gd name="T12" fmla="*/ 346364 w 176"/>
                <a:gd name="T13" fmla="*/ 191634 h 168"/>
                <a:gd name="T14" fmla="*/ 346364 w 176"/>
                <a:gd name="T15" fmla="*/ 206375 h 168"/>
                <a:gd name="T16" fmla="*/ 277091 w 176"/>
                <a:gd name="T17" fmla="*/ 235858 h 168"/>
                <a:gd name="T18" fmla="*/ 225136 w 176"/>
                <a:gd name="T19" fmla="*/ 221116 h 168"/>
                <a:gd name="T20" fmla="*/ 242455 w 176"/>
                <a:gd name="T21" fmla="*/ 235858 h 168"/>
                <a:gd name="T22" fmla="*/ 242455 w 176"/>
                <a:gd name="T23" fmla="*/ 265340 h 168"/>
                <a:gd name="T24" fmla="*/ 259773 w 176"/>
                <a:gd name="T25" fmla="*/ 280081 h 168"/>
                <a:gd name="T26" fmla="*/ 207818 w 176"/>
                <a:gd name="T27" fmla="*/ 309563 h 168"/>
                <a:gd name="T28" fmla="*/ 173182 w 176"/>
                <a:gd name="T29" fmla="*/ 309563 h 168"/>
                <a:gd name="T30" fmla="*/ 173182 w 176"/>
                <a:gd name="T31" fmla="*/ 294822 h 168"/>
                <a:gd name="T32" fmla="*/ 138545 w 176"/>
                <a:gd name="T33" fmla="*/ 250599 h 168"/>
                <a:gd name="T34" fmla="*/ 155864 w 176"/>
                <a:gd name="T35" fmla="*/ 250599 h 168"/>
                <a:gd name="T36" fmla="*/ 138545 w 176"/>
                <a:gd name="T37" fmla="*/ 206375 h 168"/>
                <a:gd name="T38" fmla="*/ 155864 w 176"/>
                <a:gd name="T39" fmla="*/ 162152 h 168"/>
                <a:gd name="T40" fmla="*/ 103909 w 176"/>
                <a:gd name="T41" fmla="*/ 162152 h 168"/>
                <a:gd name="T42" fmla="*/ 86591 w 176"/>
                <a:gd name="T43" fmla="*/ 147411 h 168"/>
                <a:gd name="T44" fmla="*/ 34636 w 176"/>
                <a:gd name="T45" fmla="*/ 132670 h 168"/>
                <a:gd name="T46" fmla="*/ 17318 w 176"/>
                <a:gd name="T47" fmla="*/ 132670 h 168"/>
                <a:gd name="T48" fmla="*/ 17318 w 176"/>
                <a:gd name="T49" fmla="*/ 117929 h 168"/>
                <a:gd name="T50" fmla="*/ 0 w 176"/>
                <a:gd name="T51" fmla="*/ 73705 h 168"/>
                <a:gd name="T52" fmla="*/ 17318 w 176"/>
                <a:gd name="T53" fmla="*/ 29482 h 168"/>
                <a:gd name="T54" fmla="*/ 34636 w 176"/>
                <a:gd name="T55" fmla="*/ 14741 h 168"/>
                <a:gd name="T56" fmla="*/ 51955 w 176"/>
                <a:gd name="T57" fmla="*/ 44223 h 168"/>
                <a:gd name="T58" fmla="*/ 34636 w 176"/>
                <a:gd name="T59" fmla="*/ 58964 h 168"/>
                <a:gd name="T60" fmla="*/ 34636 w 176"/>
                <a:gd name="T61" fmla="*/ 88447 h 168"/>
                <a:gd name="T62" fmla="*/ 51955 w 176"/>
                <a:gd name="T63" fmla="*/ 73705 h 168"/>
                <a:gd name="T64" fmla="*/ 51955 w 176"/>
                <a:gd name="T65" fmla="*/ 29482 h 168"/>
                <a:gd name="T66" fmla="*/ 86591 w 176"/>
                <a:gd name="T67" fmla="*/ 14741 h 168"/>
                <a:gd name="T68" fmla="*/ 86591 w 176"/>
                <a:gd name="T69" fmla="*/ 0 h 168"/>
                <a:gd name="T70" fmla="*/ 103909 w 176"/>
                <a:gd name="T71" fmla="*/ 14741 h 168"/>
                <a:gd name="T72" fmla="*/ 138545 w 176"/>
                <a:gd name="T73" fmla="*/ 29482 h 168"/>
                <a:gd name="T74" fmla="*/ 138545 w 176"/>
                <a:gd name="T75" fmla="*/ 44223 h 168"/>
                <a:gd name="T76" fmla="*/ 190500 w 176"/>
                <a:gd name="T77" fmla="*/ 44223 h 168"/>
                <a:gd name="T78" fmla="*/ 225136 w 176"/>
                <a:gd name="T79" fmla="*/ 58964 h 168"/>
                <a:gd name="T80" fmla="*/ 259773 w 176"/>
                <a:gd name="T81" fmla="*/ 44223 h 168"/>
                <a:gd name="T82" fmla="*/ 311727 w 176"/>
                <a:gd name="T83" fmla="*/ 44223 h 168"/>
                <a:gd name="T84" fmla="*/ 294409 w 176"/>
                <a:gd name="T85" fmla="*/ 44223 h 168"/>
                <a:gd name="T86" fmla="*/ 311727 w 176"/>
                <a:gd name="T87" fmla="*/ 58964 h 168"/>
                <a:gd name="T88" fmla="*/ 346364 w 176"/>
                <a:gd name="T89" fmla="*/ 73705 h 168"/>
                <a:gd name="T90" fmla="*/ 346364 w 176"/>
                <a:gd name="T91" fmla="*/ 103188 h 168"/>
                <a:gd name="T92" fmla="*/ 363682 w 176"/>
                <a:gd name="T93" fmla="*/ 103188 h 168"/>
                <a:gd name="T94" fmla="*/ 381000 w 176"/>
                <a:gd name="T95" fmla="*/ 103188 h 1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76"/>
                <a:gd name="T145" fmla="*/ 0 h 168"/>
                <a:gd name="T146" fmla="*/ 176 w 176"/>
                <a:gd name="T147" fmla="*/ 168 h 1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76" h="168">
                  <a:moveTo>
                    <a:pt x="176" y="56"/>
                  </a:moveTo>
                  <a:lnTo>
                    <a:pt x="160" y="64"/>
                  </a:lnTo>
                  <a:lnTo>
                    <a:pt x="160" y="72"/>
                  </a:lnTo>
                  <a:lnTo>
                    <a:pt x="168" y="80"/>
                  </a:lnTo>
                  <a:lnTo>
                    <a:pt x="160" y="80"/>
                  </a:lnTo>
                  <a:lnTo>
                    <a:pt x="152" y="96"/>
                  </a:lnTo>
                  <a:lnTo>
                    <a:pt x="160" y="104"/>
                  </a:lnTo>
                  <a:lnTo>
                    <a:pt x="160" y="112"/>
                  </a:lnTo>
                  <a:lnTo>
                    <a:pt x="128" y="128"/>
                  </a:lnTo>
                  <a:lnTo>
                    <a:pt x="104" y="120"/>
                  </a:lnTo>
                  <a:lnTo>
                    <a:pt x="112" y="128"/>
                  </a:lnTo>
                  <a:lnTo>
                    <a:pt x="112" y="144"/>
                  </a:lnTo>
                  <a:lnTo>
                    <a:pt x="120" y="152"/>
                  </a:lnTo>
                  <a:lnTo>
                    <a:pt x="96" y="168"/>
                  </a:lnTo>
                  <a:lnTo>
                    <a:pt x="80" y="168"/>
                  </a:lnTo>
                  <a:lnTo>
                    <a:pt x="80" y="160"/>
                  </a:lnTo>
                  <a:lnTo>
                    <a:pt x="64" y="136"/>
                  </a:lnTo>
                  <a:lnTo>
                    <a:pt x="72" y="136"/>
                  </a:lnTo>
                  <a:lnTo>
                    <a:pt x="64" y="112"/>
                  </a:lnTo>
                  <a:lnTo>
                    <a:pt x="72" y="88"/>
                  </a:lnTo>
                  <a:lnTo>
                    <a:pt x="48" y="88"/>
                  </a:lnTo>
                  <a:lnTo>
                    <a:pt x="40" y="80"/>
                  </a:lnTo>
                  <a:lnTo>
                    <a:pt x="16" y="72"/>
                  </a:lnTo>
                  <a:lnTo>
                    <a:pt x="8" y="72"/>
                  </a:lnTo>
                  <a:lnTo>
                    <a:pt x="8" y="64"/>
                  </a:lnTo>
                  <a:lnTo>
                    <a:pt x="0" y="40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24" y="24"/>
                  </a:lnTo>
                  <a:lnTo>
                    <a:pt x="16" y="32"/>
                  </a:lnTo>
                  <a:lnTo>
                    <a:pt x="16" y="48"/>
                  </a:lnTo>
                  <a:lnTo>
                    <a:pt x="24" y="40"/>
                  </a:lnTo>
                  <a:lnTo>
                    <a:pt x="24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48" y="8"/>
                  </a:lnTo>
                  <a:lnTo>
                    <a:pt x="64" y="16"/>
                  </a:lnTo>
                  <a:lnTo>
                    <a:pt x="64" y="24"/>
                  </a:lnTo>
                  <a:lnTo>
                    <a:pt x="88" y="24"/>
                  </a:lnTo>
                  <a:lnTo>
                    <a:pt x="104" y="32"/>
                  </a:lnTo>
                  <a:lnTo>
                    <a:pt x="120" y="24"/>
                  </a:lnTo>
                  <a:lnTo>
                    <a:pt x="144" y="24"/>
                  </a:lnTo>
                  <a:lnTo>
                    <a:pt x="136" y="24"/>
                  </a:lnTo>
                  <a:lnTo>
                    <a:pt x="144" y="32"/>
                  </a:lnTo>
                  <a:lnTo>
                    <a:pt x="160" y="40"/>
                  </a:lnTo>
                  <a:lnTo>
                    <a:pt x="160" y="56"/>
                  </a:lnTo>
                  <a:lnTo>
                    <a:pt x="168" y="56"/>
                  </a:lnTo>
                  <a:lnTo>
                    <a:pt x="176" y="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Freeform 144">
              <a:extLst>
                <a:ext uri="{FF2B5EF4-FFF2-40B4-BE49-F238E27FC236}">
                  <a16:creationId xmlns:a16="http://schemas.microsoft.com/office/drawing/2014/main" id="{16AE81DF-AC4E-4E2F-A19C-06A45BF55F7F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4189308" y="4030364"/>
              <a:ext cx="88106" cy="133901"/>
            </a:xfrm>
            <a:custGeom>
              <a:avLst/>
              <a:gdLst>
                <a:gd name="T0" fmla="*/ 69850 w 32"/>
                <a:gd name="T1" fmla="*/ 44223 h 56"/>
                <a:gd name="T2" fmla="*/ 34925 w 32"/>
                <a:gd name="T3" fmla="*/ 103188 h 56"/>
                <a:gd name="T4" fmla="*/ 0 w 32"/>
                <a:gd name="T5" fmla="*/ 103188 h 56"/>
                <a:gd name="T6" fmla="*/ 0 w 32"/>
                <a:gd name="T7" fmla="*/ 58965 h 56"/>
                <a:gd name="T8" fmla="*/ 0 w 32"/>
                <a:gd name="T9" fmla="*/ 29482 h 56"/>
                <a:gd name="T10" fmla="*/ 0 w 32"/>
                <a:gd name="T11" fmla="*/ 0 h 56"/>
                <a:gd name="T12" fmla="*/ 69850 w 32"/>
                <a:gd name="T13" fmla="*/ 44223 h 5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56"/>
                <a:gd name="T23" fmla="*/ 32 w 32"/>
                <a:gd name="T24" fmla="*/ 56 h 5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56">
                  <a:moveTo>
                    <a:pt x="32" y="24"/>
                  </a:moveTo>
                  <a:lnTo>
                    <a:pt x="16" y="56"/>
                  </a:lnTo>
                  <a:lnTo>
                    <a:pt x="0" y="56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0" y="0"/>
                  </a:lnTo>
                  <a:lnTo>
                    <a:pt x="32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Freeform 145">
              <a:extLst>
                <a:ext uri="{FF2B5EF4-FFF2-40B4-BE49-F238E27FC236}">
                  <a16:creationId xmlns:a16="http://schemas.microsoft.com/office/drawing/2014/main" id="{21C6377C-ECA2-4A69-9B0F-B0889DE558C5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4059150" y="4030364"/>
              <a:ext cx="130158" cy="133901"/>
            </a:xfrm>
            <a:custGeom>
              <a:avLst/>
              <a:gdLst>
                <a:gd name="T0" fmla="*/ 103188 w 48"/>
                <a:gd name="T1" fmla="*/ 0 h 56"/>
                <a:gd name="T2" fmla="*/ 85990 w 48"/>
                <a:gd name="T3" fmla="*/ 0 h 56"/>
                <a:gd name="T4" fmla="*/ 17198 w 48"/>
                <a:gd name="T5" fmla="*/ 0 h 56"/>
                <a:gd name="T6" fmla="*/ 0 w 48"/>
                <a:gd name="T7" fmla="*/ 44223 h 56"/>
                <a:gd name="T8" fmla="*/ 34396 w 48"/>
                <a:gd name="T9" fmla="*/ 103188 h 56"/>
                <a:gd name="T10" fmla="*/ 51594 w 48"/>
                <a:gd name="T11" fmla="*/ 103188 h 56"/>
                <a:gd name="T12" fmla="*/ 51594 w 48"/>
                <a:gd name="T13" fmla="*/ 88447 h 56"/>
                <a:gd name="T14" fmla="*/ 103188 w 48"/>
                <a:gd name="T15" fmla="*/ 103188 h 56"/>
                <a:gd name="T16" fmla="*/ 103188 w 48"/>
                <a:gd name="T17" fmla="*/ 58965 h 56"/>
                <a:gd name="T18" fmla="*/ 103188 w 48"/>
                <a:gd name="T19" fmla="*/ 29482 h 56"/>
                <a:gd name="T20" fmla="*/ 103188 w 48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56"/>
                <a:gd name="T35" fmla="*/ 48 w 48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56">
                  <a:moveTo>
                    <a:pt x="48" y="0"/>
                  </a:moveTo>
                  <a:lnTo>
                    <a:pt x="40" y="0"/>
                  </a:lnTo>
                  <a:lnTo>
                    <a:pt x="8" y="0"/>
                  </a:lnTo>
                  <a:lnTo>
                    <a:pt x="0" y="24"/>
                  </a:lnTo>
                  <a:lnTo>
                    <a:pt x="16" y="56"/>
                  </a:lnTo>
                  <a:lnTo>
                    <a:pt x="24" y="56"/>
                  </a:lnTo>
                  <a:lnTo>
                    <a:pt x="24" y="48"/>
                  </a:lnTo>
                  <a:lnTo>
                    <a:pt x="48" y="56"/>
                  </a:lnTo>
                  <a:lnTo>
                    <a:pt x="48" y="32"/>
                  </a:lnTo>
                  <a:lnTo>
                    <a:pt x="48" y="16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Freeform 146">
              <a:extLst>
                <a:ext uri="{FF2B5EF4-FFF2-40B4-BE49-F238E27FC236}">
                  <a16:creationId xmlns:a16="http://schemas.microsoft.com/office/drawing/2014/main" id="{A1F7CC27-0C48-4F8D-AD57-B83512770108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622622" y="4872906"/>
              <a:ext cx="436528" cy="1301924"/>
            </a:xfrm>
            <a:custGeom>
              <a:avLst/>
              <a:gdLst>
                <a:gd name="T0" fmla="*/ 34608 w 160"/>
                <a:gd name="T1" fmla="*/ 0 h 544"/>
                <a:gd name="T2" fmla="*/ 69215 w 160"/>
                <a:gd name="T3" fmla="*/ 73772 h 544"/>
                <a:gd name="T4" fmla="*/ 121126 w 160"/>
                <a:gd name="T5" fmla="*/ 147544 h 544"/>
                <a:gd name="T6" fmla="*/ 86519 w 160"/>
                <a:gd name="T7" fmla="*/ 191807 h 544"/>
                <a:gd name="T8" fmla="*/ 86519 w 160"/>
                <a:gd name="T9" fmla="*/ 295088 h 544"/>
                <a:gd name="T10" fmla="*/ 121126 w 160"/>
                <a:gd name="T11" fmla="*/ 457387 h 544"/>
                <a:gd name="T12" fmla="*/ 121126 w 160"/>
                <a:gd name="T13" fmla="*/ 516404 h 544"/>
                <a:gd name="T14" fmla="*/ 138430 w 160"/>
                <a:gd name="T15" fmla="*/ 590176 h 544"/>
                <a:gd name="T16" fmla="*/ 155734 w 160"/>
                <a:gd name="T17" fmla="*/ 678703 h 544"/>
                <a:gd name="T18" fmla="*/ 173038 w 160"/>
                <a:gd name="T19" fmla="*/ 752475 h 544"/>
                <a:gd name="T20" fmla="*/ 190341 w 160"/>
                <a:gd name="T21" fmla="*/ 752475 h 544"/>
                <a:gd name="T22" fmla="*/ 207645 w 160"/>
                <a:gd name="T23" fmla="*/ 900019 h 544"/>
                <a:gd name="T24" fmla="*/ 242252 w 160"/>
                <a:gd name="T25" fmla="*/ 914773 h 544"/>
                <a:gd name="T26" fmla="*/ 346075 w 160"/>
                <a:gd name="T27" fmla="*/ 959037 h 544"/>
                <a:gd name="T28" fmla="*/ 328771 w 160"/>
                <a:gd name="T29" fmla="*/ 973791 h 544"/>
                <a:gd name="T30" fmla="*/ 294164 w 160"/>
                <a:gd name="T31" fmla="*/ 988546 h 544"/>
                <a:gd name="T32" fmla="*/ 311468 w 160"/>
                <a:gd name="T33" fmla="*/ 973791 h 544"/>
                <a:gd name="T34" fmla="*/ 224949 w 160"/>
                <a:gd name="T35" fmla="*/ 959037 h 544"/>
                <a:gd name="T36" fmla="*/ 207645 w 160"/>
                <a:gd name="T37" fmla="*/ 959037 h 544"/>
                <a:gd name="T38" fmla="*/ 224949 w 160"/>
                <a:gd name="T39" fmla="*/ 944282 h 544"/>
                <a:gd name="T40" fmla="*/ 207645 w 160"/>
                <a:gd name="T41" fmla="*/ 944282 h 544"/>
                <a:gd name="T42" fmla="*/ 190341 w 160"/>
                <a:gd name="T43" fmla="*/ 914773 h 544"/>
                <a:gd name="T44" fmla="*/ 173038 w 160"/>
                <a:gd name="T45" fmla="*/ 914773 h 544"/>
                <a:gd name="T46" fmla="*/ 155734 w 160"/>
                <a:gd name="T47" fmla="*/ 900019 h 544"/>
                <a:gd name="T48" fmla="*/ 138430 w 160"/>
                <a:gd name="T49" fmla="*/ 841001 h 544"/>
                <a:gd name="T50" fmla="*/ 155734 w 160"/>
                <a:gd name="T51" fmla="*/ 811493 h 544"/>
                <a:gd name="T52" fmla="*/ 103822 w 160"/>
                <a:gd name="T53" fmla="*/ 811493 h 544"/>
                <a:gd name="T54" fmla="*/ 121126 w 160"/>
                <a:gd name="T55" fmla="*/ 781984 h 544"/>
                <a:gd name="T56" fmla="*/ 121126 w 160"/>
                <a:gd name="T57" fmla="*/ 737720 h 544"/>
                <a:gd name="T58" fmla="*/ 138430 w 160"/>
                <a:gd name="T59" fmla="*/ 767229 h 544"/>
                <a:gd name="T60" fmla="*/ 138430 w 160"/>
                <a:gd name="T61" fmla="*/ 737720 h 544"/>
                <a:gd name="T62" fmla="*/ 103822 w 160"/>
                <a:gd name="T63" fmla="*/ 663948 h 544"/>
                <a:gd name="T64" fmla="*/ 86519 w 160"/>
                <a:gd name="T65" fmla="*/ 649194 h 544"/>
                <a:gd name="T66" fmla="*/ 51911 w 160"/>
                <a:gd name="T67" fmla="*/ 560668 h 544"/>
                <a:gd name="T68" fmla="*/ 69215 w 160"/>
                <a:gd name="T69" fmla="*/ 545913 h 544"/>
                <a:gd name="T70" fmla="*/ 69215 w 160"/>
                <a:gd name="T71" fmla="*/ 413123 h 544"/>
                <a:gd name="T72" fmla="*/ 51911 w 160"/>
                <a:gd name="T73" fmla="*/ 354106 h 544"/>
                <a:gd name="T74" fmla="*/ 51911 w 160"/>
                <a:gd name="T75" fmla="*/ 250825 h 544"/>
                <a:gd name="T76" fmla="*/ 34608 w 160"/>
                <a:gd name="T77" fmla="*/ 118035 h 54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0"/>
                <a:gd name="T118" fmla="*/ 0 h 544"/>
                <a:gd name="T119" fmla="*/ 160 w 160"/>
                <a:gd name="T120" fmla="*/ 544 h 54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0" h="544">
                  <a:moveTo>
                    <a:pt x="0" y="8"/>
                  </a:moveTo>
                  <a:lnTo>
                    <a:pt x="16" y="0"/>
                  </a:lnTo>
                  <a:lnTo>
                    <a:pt x="32" y="24"/>
                  </a:lnTo>
                  <a:lnTo>
                    <a:pt x="32" y="40"/>
                  </a:lnTo>
                  <a:lnTo>
                    <a:pt x="48" y="80"/>
                  </a:lnTo>
                  <a:lnTo>
                    <a:pt x="56" y="80"/>
                  </a:lnTo>
                  <a:lnTo>
                    <a:pt x="56" y="96"/>
                  </a:lnTo>
                  <a:lnTo>
                    <a:pt x="40" y="104"/>
                  </a:lnTo>
                  <a:lnTo>
                    <a:pt x="48" y="136"/>
                  </a:lnTo>
                  <a:lnTo>
                    <a:pt x="40" y="160"/>
                  </a:lnTo>
                  <a:lnTo>
                    <a:pt x="40" y="208"/>
                  </a:lnTo>
                  <a:lnTo>
                    <a:pt x="56" y="248"/>
                  </a:lnTo>
                  <a:lnTo>
                    <a:pt x="48" y="272"/>
                  </a:lnTo>
                  <a:lnTo>
                    <a:pt x="56" y="280"/>
                  </a:lnTo>
                  <a:lnTo>
                    <a:pt x="48" y="296"/>
                  </a:lnTo>
                  <a:lnTo>
                    <a:pt x="64" y="320"/>
                  </a:lnTo>
                  <a:lnTo>
                    <a:pt x="64" y="360"/>
                  </a:lnTo>
                  <a:lnTo>
                    <a:pt x="72" y="368"/>
                  </a:lnTo>
                  <a:lnTo>
                    <a:pt x="72" y="384"/>
                  </a:lnTo>
                  <a:lnTo>
                    <a:pt x="80" y="408"/>
                  </a:lnTo>
                  <a:lnTo>
                    <a:pt x="88" y="416"/>
                  </a:lnTo>
                  <a:lnTo>
                    <a:pt x="88" y="408"/>
                  </a:lnTo>
                  <a:lnTo>
                    <a:pt x="96" y="440"/>
                  </a:lnTo>
                  <a:lnTo>
                    <a:pt x="96" y="488"/>
                  </a:lnTo>
                  <a:lnTo>
                    <a:pt x="104" y="496"/>
                  </a:lnTo>
                  <a:lnTo>
                    <a:pt x="112" y="496"/>
                  </a:lnTo>
                  <a:lnTo>
                    <a:pt x="128" y="520"/>
                  </a:lnTo>
                  <a:lnTo>
                    <a:pt x="160" y="520"/>
                  </a:lnTo>
                  <a:lnTo>
                    <a:pt x="160" y="528"/>
                  </a:lnTo>
                  <a:lnTo>
                    <a:pt x="152" y="528"/>
                  </a:lnTo>
                  <a:lnTo>
                    <a:pt x="152" y="544"/>
                  </a:lnTo>
                  <a:lnTo>
                    <a:pt x="136" y="536"/>
                  </a:lnTo>
                  <a:lnTo>
                    <a:pt x="144" y="536"/>
                  </a:lnTo>
                  <a:lnTo>
                    <a:pt x="144" y="528"/>
                  </a:lnTo>
                  <a:lnTo>
                    <a:pt x="136" y="536"/>
                  </a:lnTo>
                  <a:lnTo>
                    <a:pt x="104" y="520"/>
                  </a:lnTo>
                  <a:lnTo>
                    <a:pt x="104" y="528"/>
                  </a:lnTo>
                  <a:lnTo>
                    <a:pt x="96" y="520"/>
                  </a:lnTo>
                  <a:lnTo>
                    <a:pt x="96" y="512"/>
                  </a:lnTo>
                  <a:lnTo>
                    <a:pt x="104" y="512"/>
                  </a:lnTo>
                  <a:lnTo>
                    <a:pt x="96" y="504"/>
                  </a:lnTo>
                  <a:lnTo>
                    <a:pt x="96" y="512"/>
                  </a:lnTo>
                  <a:lnTo>
                    <a:pt x="88" y="512"/>
                  </a:lnTo>
                  <a:lnTo>
                    <a:pt x="88" y="496"/>
                  </a:lnTo>
                  <a:lnTo>
                    <a:pt x="88" y="488"/>
                  </a:lnTo>
                  <a:lnTo>
                    <a:pt x="80" y="496"/>
                  </a:lnTo>
                  <a:lnTo>
                    <a:pt x="80" y="488"/>
                  </a:lnTo>
                  <a:lnTo>
                    <a:pt x="72" y="488"/>
                  </a:lnTo>
                  <a:lnTo>
                    <a:pt x="64" y="464"/>
                  </a:lnTo>
                  <a:lnTo>
                    <a:pt x="64" y="456"/>
                  </a:lnTo>
                  <a:lnTo>
                    <a:pt x="72" y="464"/>
                  </a:lnTo>
                  <a:lnTo>
                    <a:pt x="72" y="440"/>
                  </a:lnTo>
                  <a:lnTo>
                    <a:pt x="56" y="440"/>
                  </a:lnTo>
                  <a:lnTo>
                    <a:pt x="48" y="440"/>
                  </a:lnTo>
                  <a:lnTo>
                    <a:pt x="56" y="432"/>
                  </a:lnTo>
                  <a:lnTo>
                    <a:pt x="56" y="424"/>
                  </a:lnTo>
                  <a:lnTo>
                    <a:pt x="48" y="400"/>
                  </a:lnTo>
                  <a:lnTo>
                    <a:pt x="56" y="400"/>
                  </a:lnTo>
                  <a:lnTo>
                    <a:pt x="64" y="400"/>
                  </a:lnTo>
                  <a:lnTo>
                    <a:pt x="64" y="416"/>
                  </a:lnTo>
                  <a:lnTo>
                    <a:pt x="64" y="424"/>
                  </a:lnTo>
                  <a:lnTo>
                    <a:pt x="64" y="400"/>
                  </a:lnTo>
                  <a:lnTo>
                    <a:pt x="56" y="368"/>
                  </a:lnTo>
                  <a:lnTo>
                    <a:pt x="48" y="360"/>
                  </a:lnTo>
                  <a:lnTo>
                    <a:pt x="48" y="368"/>
                  </a:lnTo>
                  <a:lnTo>
                    <a:pt x="40" y="352"/>
                  </a:lnTo>
                  <a:lnTo>
                    <a:pt x="40" y="336"/>
                  </a:lnTo>
                  <a:lnTo>
                    <a:pt x="24" y="304"/>
                  </a:lnTo>
                  <a:lnTo>
                    <a:pt x="24" y="296"/>
                  </a:lnTo>
                  <a:lnTo>
                    <a:pt x="32" y="296"/>
                  </a:lnTo>
                  <a:lnTo>
                    <a:pt x="32" y="248"/>
                  </a:lnTo>
                  <a:lnTo>
                    <a:pt x="32" y="224"/>
                  </a:lnTo>
                  <a:lnTo>
                    <a:pt x="16" y="200"/>
                  </a:lnTo>
                  <a:lnTo>
                    <a:pt x="24" y="192"/>
                  </a:lnTo>
                  <a:lnTo>
                    <a:pt x="16" y="176"/>
                  </a:lnTo>
                  <a:lnTo>
                    <a:pt x="24" y="136"/>
                  </a:lnTo>
                  <a:lnTo>
                    <a:pt x="16" y="80"/>
                  </a:lnTo>
                  <a:lnTo>
                    <a:pt x="16" y="6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Freeform 147">
              <a:extLst>
                <a:ext uri="{FF2B5EF4-FFF2-40B4-BE49-F238E27FC236}">
                  <a16:creationId xmlns:a16="http://schemas.microsoft.com/office/drawing/2014/main" id="{F89B6688-3C3C-460C-9F18-BB32F89166E1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6522127" y="2518319"/>
              <a:ext cx="4005" cy="18541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14288 h 8"/>
                <a:gd name="T4" fmla="*/ 0 w 2"/>
                <a:gd name="T5" fmla="*/ 0 h 8"/>
                <a:gd name="T6" fmla="*/ 0 60000 65536"/>
                <a:gd name="T7" fmla="*/ 0 60000 65536"/>
                <a:gd name="T8" fmla="*/ 0 60000 65536"/>
                <a:gd name="T9" fmla="*/ 0 w 2"/>
                <a:gd name="T10" fmla="*/ 0 h 8"/>
                <a:gd name="T11" fmla="*/ 2 w 2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8">
                  <a:moveTo>
                    <a:pt x="0" y="0"/>
                  </a:move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Freeform 148">
              <a:extLst>
                <a:ext uri="{FF2B5EF4-FFF2-40B4-BE49-F238E27FC236}">
                  <a16:creationId xmlns:a16="http://schemas.microsoft.com/office/drawing/2014/main" id="{057F6247-A30D-4617-BA3F-DA7725A76912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6522127" y="2518319"/>
              <a:ext cx="4005" cy="18541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14288 h 8"/>
                <a:gd name="T4" fmla="*/ 0 w 2"/>
                <a:gd name="T5" fmla="*/ 0 h 8"/>
                <a:gd name="T6" fmla="*/ 0 60000 65536"/>
                <a:gd name="T7" fmla="*/ 0 60000 65536"/>
                <a:gd name="T8" fmla="*/ 0 60000 65536"/>
                <a:gd name="T9" fmla="*/ 0 w 2"/>
                <a:gd name="T10" fmla="*/ 0 h 8"/>
                <a:gd name="T11" fmla="*/ 2 w 2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8">
                  <a:moveTo>
                    <a:pt x="0" y="0"/>
                  </a:move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62" name="Group 149">
              <a:extLst>
                <a:ext uri="{FF2B5EF4-FFF2-40B4-BE49-F238E27FC236}">
                  <a16:creationId xmlns:a16="http://schemas.microsoft.com/office/drawing/2014/main" id="{73A5D946-0C29-4D42-9DE5-5BEFA530863A}"/>
                </a:ext>
              </a:extLst>
            </p:cNvPr>
            <p:cNvGrpSpPr>
              <a:grpSpLocks/>
            </p:cNvGrpSpPr>
            <p:nvPr>
              <p:custDataLst>
                <p:tags r:id="rId124"/>
              </p:custDataLst>
            </p:nvPr>
          </p:nvGrpSpPr>
          <p:grpSpPr bwMode="auto">
            <a:xfrm>
              <a:off x="6828500" y="1560413"/>
              <a:ext cx="4645613" cy="1398744"/>
              <a:chOff x="3380" y="1512"/>
              <a:chExt cx="1704" cy="584"/>
            </a:xfrm>
            <a:solidFill>
              <a:schemeClr val="bg1">
                <a:lumMod val="85000"/>
              </a:schemeClr>
            </a:solidFill>
          </p:grpSpPr>
          <p:sp>
            <p:nvSpPr>
              <p:cNvPr id="360" name="Freeform 150">
                <a:extLst>
                  <a:ext uri="{FF2B5EF4-FFF2-40B4-BE49-F238E27FC236}">
                    <a16:creationId xmlns:a16="http://schemas.microsoft.com/office/drawing/2014/main" id="{2F0DF5F5-4A7C-4F36-8961-DFC7BB1C0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2" y="1840"/>
                <a:ext cx="208" cy="120"/>
              </a:xfrm>
              <a:custGeom>
                <a:avLst/>
                <a:gdLst>
                  <a:gd name="T0" fmla="*/ 80 w 208"/>
                  <a:gd name="T1" fmla="*/ 104 h 120"/>
                  <a:gd name="T2" fmla="*/ 96 w 208"/>
                  <a:gd name="T3" fmla="*/ 104 h 120"/>
                  <a:gd name="T4" fmla="*/ 96 w 208"/>
                  <a:gd name="T5" fmla="*/ 96 h 120"/>
                  <a:gd name="T6" fmla="*/ 104 w 208"/>
                  <a:gd name="T7" fmla="*/ 88 h 120"/>
                  <a:gd name="T8" fmla="*/ 120 w 208"/>
                  <a:gd name="T9" fmla="*/ 88 h 120"/>
                  <a:gd name="T10" fmla="*/ 144 w 208"/>
                  <a:gd name="T11" fmla="*/ 96 h 120"/>
                  <a:gd name="T12" fmla="*/ 128 w 208"/>
                  <a:gd name="T13" fmla="*/ 104 h 120"/>
                  <a:gd name="T14" fmla="*/ 144 w 208"/>
                  <a:gd name="T15" fmla="*/ 112 h 120"/>
                  <a:gd name="T16" fmla="*/ 144 w 208"/>
                  <a:gd name="T17" fmla="*/ 120 h 120"/>
                  <a:gd name="T18" fmla="*/ 168 w 208"/>
                  <a:gd name="T19" fmla="*/ 112 h 120"/>
                  <a:gd name="T20" fmla="*/ 176 w 208"/>
                  <a:gd name="T21" fmla="*/ 112 h 120"/>
                  <a:gd name="T22" fmla="*/ 176 w 208"/>
                  <a:gd name="T23" fmla="*/ 104 h 120"/>
                  <a:gd name="T24" fmla="*/ 168 w 208"/>
                  <a:gd name="T25" fmla="*/ 104 h 120"/>
                  <a:gd name="T26" fmla="*/ 152 w 208"/>
                  <a:gd name="T27" fmla="*/ 96 h 120"/>
                  <a:gd name="T28" fmla="*/ 184 w 208"/>
                  <a:gd name="T29" fmla="*/ 80 h 120"/>
                  <a:gd name="T30" fmla="*/ 192 w 208"/>
                  <a:gd name="T31" fmla="*/ 80 h 120"/>
                  <a:gd name="T32" fmla="*/ 192 w 208"/>
                  <a:gd name="T33" fmla="*/ 72 h 120"/>
                  <a:gd name="T34" fmla="*/ 200 w 208"/>
                  <a:gd name="T35" fmla="*/ 64 h 120"/>
                  <a:gd name="T36" fmla="*/ 208 w 208"/>
                  <a:gd name="T37" fmla="*/ 72 h 120"/>
                  <a:gd name="T38" fmla="*/ 208 w 208"/>
                  <a:gd name="T39" fmla="*/ 56 h 120"/>
                  <a:gd name="T40" fmla="*/ 208 w 208"/>
                  <a:gd name="T41" fmla="*/ 48 h 120"/>
                  <a:gd name="T42" fmla="*/ 208 w 208"/>
                  <a:gd name="T43" fmla="*/ 40 h 120"/>
                  <a:gd name="T44" fmla="*/ 184 w 208"/>
                  <a:gd name="T45" fmla="*/ 40 h 120"/>
                  <a:gd name="T46" fmla="*/ 176 w 208"/>
                  <a:gd name="T47" fmla="*/ 32 h 120"/>
                  <a:gd name="T48" fmla="*/ 152 w 208"/>
                  <a:gd name="T49" fmla="*/ 32 h 120"/>
                  <a:gd name="T50" fmla="*/ 144 w 208"/>
                  <a:gd name="T51" fmla="*/ 16 h 120"/>
                  <a:gd name="T52" fmla="*/ 136 w 208"/>
                  <a:gd name="T53" fmla="*/ 16 h 120"/>
                  <a:gd name="T54" fmla="*/ 136 w 208"/>
                  <a:gd name="T55" fmla="*/ 8 h 120"/>
                  <a:gd name="T56" fmla="*/ 128 w 208"/>
                  <a:gd name="T57" fmla="*/ 0 h 120"/>
                  <a:gd name="T58" fmla="*/ 104 w 208"/>
                  <a:gd name="T59" fmla="*/ 8 h 120"/>
                  <a:gd name="T60" fmla="*/ 96 w 208"/>
                  <a:gd name="T61" fmla="*/ 8 h 120"/>
                  <a:gd name="T62" fmla="*/ 96 w 208"/>
                  <a:gd name="T63" fmla="*/ 16 h 120"/>
                  <a:gd name="T64" fmla="*/ 80 w 208"/>
                  <a:gd name="T65" fmla="*/ 16 h 120"/>
                  <a:gd name="T66" fmla="*/ 64 w 208"/>
                  <a:gd name="T67" fmla="*/ 16 h 120"/>
                  <a:gd name="T68" fmla="*/ 40 w 208"/>
                  <a:gd name="T69" fmla="*/ 8 h 120"/>
                  <a:gd name="T70" fmla="*/ 16 w 208"/>
                  <a:gd name="T71" fmla="*/ 16 h 120"/>
                  <a:gd name="T72" fmla="*/ 24 w 208"/>
                  <a:gd name="T73" fmla="*/ 32 h 120"/>
                  <a:gd name="T74" fmla="*/ 0 w 208"/>
                  <a:gd name="T75" fmla="*/ 48 h 120"/>
                  <a:gd name="T76" fmla="*/ 0 w 208"/>
                  <a:gd name="T77" fmla="*/ 56 h 120"/>
                  <a:gd name="T78" fmla="*/ 0 w 208"/>
                  <a:gd name="T79" fmla="*/ 64 h 120"/>
                  <a:gd name="T80" fmla="*/ 8 w 208"/>
                  <a:gd name="T81" fmla="*/ 64 h 120"/>
                  <a:gd name="T82" fmla="*/ 32 w 208"/>
                  <a:gd name="T83" fmla="*/ 72 h 120"/>
                  <a:gd name="T84" fmla="*/ 56 w 208"/>
                  <a:gd name="T85" fmla="*/ 64 h 120"/>
                  <a:gd name="T86" fmla="*/ 64 w 208"/>
                  <a:gd name="T87" fmla="*/ 56 h 120"/>
                  <a:gd name="T88" fmla="*/ 80 w 208"/>
                  <a:gd name="T89" fmla="*/ 64 h 120"/>
                  <a:gd name="T90" fmla="*/ 88 w 208"/>
                  <a:gd name="T91" fmla="*/ 72 h 120"/>
                  <a:gd name="T92" fmla="*/ 96 w 208"/>
                  <a:gd name="T93" fmla="*/ 80 h 120"/>
                  <a:gd name="T94" fmla="*/ 96 w 208"/>
                  <a:gd name="T95" fmla="*/ 88 h 120"/>
                  <a:gd name="T96" fmla="*/ 88 w 208"/>
                  <a:gd name="T97" fmla="*/ 88 h 120"/>
                  <a:gd name="T98" fmla="*/ 80 w 208"/>
                  <a:gd name="T99" fmla="*/ 104 h 12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08"/>
                  <a:gd name="T151" fmla="*/ 0 h 120"/>
                  <a:gd name="T152" fmla="*/ 208 w 208"/>
                  <a:gd name="T153" fmla="*/ 120 h 12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08" h="120">
                    <a:moveTo>
                      <a:pt x="80" y="104"/>
                    </a:moveTo>
                    <a:lnTo>
                      <a:pt x="96" y="104"/>
                    </a:lnTo>
                    <a:lnTo>
                      <a:pt x="96" y="96"/>
                    </a:lnTo>
                    <a:lnTo>
                      <a:pt x="104" y="88"/>
                    </a:lnTo>
                    <a:lnTo>
                      <a:pt x="120" y="88"/>
                    </a:lnTo>
                    <a:lnTo>
                      <a:pt x="144" y="96"/>
                    </a:lnTo>
                    <a:lnTo>
                      <a:pt x="128" y="104"/>
                    </a:lnTo>
                    <a:lnTo>
                      <a:pt x="144" y="112"/>
                    </a:lnTo>
                    <a:lnTo>
                      <a:pt x="144" y="120"/>
                    </a:lnTo>
                    <a:lnTo>
                      <a:pt x="168" y="112"/>
                    </a:lnTo>
                    <a:lnTo>
                      <a:pt x="176" y="112"/>
                    </a:lnTo>
                    <a:lnTo>
                      <a:pt x="176" y="104"/>
                    </a:lnTo>
                    <a:lnTo>
                      <a:pt x="168" y="104"/>
                    </a:lnTo>
                    <a:lnTo>
                      <a:pt x="152" y="96"/>
                    </a:lnTo>
                    <a:lnTo>
                      <a:pt x="184" y="80"/>
                    </a:lnTo>
                    <a:lnTo>
                      <a:pt x="192" y="80"/>
                    </a:lnTo>
                    <a:lnTo>
                      <a:pt x="192" y="72"/>
                    </a:lnTo>
                    <a:lnTo>
                      <a:pt x="200" y="64"/>
                    </a:lnTo>
                    <a:lnTo>
                      <a:pt x="208" y="72"/>
                    </a:lnTo>
                    <a:lnTo>
                      <a:pt x="208" y="56"/>
                    </a:lnTo>
                    <a:lnTo>
                      <a:pt x="208" y="48"/>
                    </a:lnTo>
                    <a:lnTo>
                      <a:pt x="208" y="40"/>
                    </a:lnTo>
                    <a:lnTo>
                      <a:pt x="184" y="40"/>
                    </a:lnTo>
                    <a:lnTo>
                      <a:pt x="176" y="32"/>
                    </a:lnTo>
                    <a:lnTo>
                      <a:pt x="152" y="32"/>
                    </a:lnTo>
                    <a:lnTo>
                      <a:pt x="144" y="16"/>
                    </a:lnTo>
                    <a:lnTo>
                      <a:pt x="136" y="16"/>
                    </a:lnTo>
                    <a:lnTo>
                      <a:pt x="136" y="8"/>
                    </a:lnTo>
                    <a:lnTo>
                      <a:pt x="128" y="0"/>
                    </a:lnTo>
                    <a:lnTo>
                      <a:pt x="104" y="8"/>
                    </a:lnTo>
                    <a:lnTo>
                      <a:pt x="96" y="8"/>
                    </a:lnTo>
                    <a:lnTo>
                      <a:pt x="96" y="16"/>
                    </a:lnTo>
                    <a:lnTo>
                      <a:pt x="80" y="16"/>
                    </a:lnTo>
                    <a:lnTo>
                      <a:pt x="64" y="16"/>
                    </a:lnTo>
                    <a:lnTo>
                      <a:pt x="40" y="8"/>
                    </a:lnTo>
                    <a:lnTo>
                      <a:pt x="16" y="16"/>
                    </a:lnTo>
                    <a:lnTo>
                      <a:pt x="24" y="32"/>
                    </a:lnTo>
                    <a:lnTo>
                      <a:pt x="0" y="48"/>
                    </a:lnTo>
                    <a:lnTo>
                      <a:pt x="0" y="56"/>
                    </a:lnTo>
                    <a:lnTo>
                      <a:pt x="0" y="64"/>
                    </a:lnTo>
                    <a:lnTo>
                      <a:pt x="8" y="64"/>
                    </a:lnTo>
                    <a:lnTo>
                      <a:pt x="32" y="72"/>
                    </a:lnTo>
                    <a:lnTo>
                      <a:pt x="56" y="64"/>
                    </a:lnTo>
                    <a:lnTo>
                      <a:pt x="64" y="56"/>
                    </a:lnTo>
                    <a:lnTo>
                      <a:pt x="80" y="64"/>
                    </a:lnTo>
                    <a:lnTo>
                      <a:pt x="88" y="72"/>
                    </a:lnTo>
                    <a:lnTo>
                      <a:pt x="96" y="80"/>
                    </a:lnTo>
                    <a:lnTo>
                      <a:pt x="96" y="88"/>
                    </a:lnTo>
                    <a:lnTo>
                      <a:pt x="88" y="88"/>
                    </a:lnTo>
                    <a:lnTo>
                      <a:pt x="80" y="10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1" name="Freeform 151">
                <a:extLst>
                  <a:ext uri="{FF2B5EF4-FFF2-40B4-BE49-F238E27FC236}">
                    <a16:creationId xmlns:a16="http://schemas.microsoft.com/office/drawing/2014/main" id="{D0DE5BCE-75A8-443B-AF2E-5DBB5AA26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1800"/>
                <a:ext cx="472" cy="208"/>
              </a:xfrm>
              <a:custGeom>
                <a:avLst/>
                <a:gdLst>
                  <a:gd name="T0" fmla="*/ 472 w 472"/>
                  <a:gd name="T1" fmla="*/ 88 h 208"/>
                  <a:gd name="T2" fmla="*/ 456 w 472"/>
                  <a:gd name="T3" fmla="*/ 88 h 208"/>
                  <a:gd name="T4" fmla="*/ 416 w 472"/>
                  <a:gd name="T5" fmla="*/ 64 h 208"/>
                  <a:gd name="T6" fmla="*/ 384 w 472"/>
                  <a:gd name="T7" fmla="*/ 56 h 208"/>
                  <a:gd name="T8" fmla="*/ 344 w 472"/>
                  <a:gd name="T9" fmla="*/ 32 h 208"/>
                  <a:gd name="T10" fmla="*/ 312 w 472"/>
                  <a:gd name="T11" fmla="*/ 16 h 208"/>
                  <a:gd name="T12" fmla="*/ 288 w 472"/>
                  <a:gd name="T13" fmla="*/ 24 h 208"/>
                  <a:gd name="T14" fmla="*/ 272 w 472"/>
                  <a:gd name="T15" fmla="*/ 16 h 208"/>
                  <a:gd name="T16" fmla="*/ 256 w 472"/>
                  <a:gd name="T17" fmla="*/ 8 h 208"/>
                  <a:gd name="T18" fmla="*/ 224 w 472"/>
                  <a:gd name="T19" fmla="*/ 0 h 208"/>
                  <a:gd name="T20" fmla="*/ 200 w 472"/>
                  <a:gd name="T21" fmla="*/ 8 h 208"/>
                  <a:gd name="T22" fmla="*/ 144 w 472"/>
                  <a:gd name="T23" fmla="*/ 16 h 208"/>
                  <a:gd name="T24" fmla="*/ 152 w 472"/>
                  <a:gd name="T25" fmla="*/ 24 h 208"/>
                  <a:gd name="T26" fmla="*/ 144 w 472"/>
                  <a:gd name="T27" fmla="*/ 40 h 208"/>
                  <a:gd name="T28" fmla="*/ 144 w 472"/>
                  <a:gd name="T29" fmla="*/ 48 h 208"/>
                  <a:gd name="T30" fmla="*/ 160 w 472"/>
                  <a:gd name="T31" fmla="*/ 64 h 208"/>
                  <a:gd name="T32" fmla="*/ 128 w 472"/>
                  <a:gd name="T33" fmla="*/ 64 h 208"/>
                  <a:gd name="T34" fmla="*/ 96 w 472"/>
                  <a:gd name="T35" fmla="*/ 64 h 208"/>
                  <a:gd name="T36" fmla="*/ 88 w 472"/>
                  <a:gd name="T37" fmla="*/ 72 h 208"/>
                  <a:gd name="T38" fmla="*/ 56 w 472"/>
                  <a:gd name="T39" fmla="*/ 48 h 208"/>
                  <a:gd name="T40" fmla="*/ 40 w 472"/>
                  <a:gd name="T41" fmla="*/ 56 h 208"/>
                  <a:gd name="T42" fmla="*/ 16 w 472"/>
                  <a:gd name="T43" fmla="*/ 64 h 208"/>
                  <a:gd name="T44" fmla="*/ 16 w 472"/>
                  <a:gd name="T45" fmla="*/ 80 h 208"/>
                  <a:gd name="T46" fmla="*/ 0 w 472"/>
                  <a:gd name="T47" fmla="*/ 96 h 208"/>
                  <a:gd name="T48" fmla="*/ 8 w 472"/>
                  <a:gd name="T49" fmla="*/ 112 h 208"/>
                  <a:gd name="T50" fmla="*/ 32 w 472"/>
                  <a:gd name="T51" fmla="*/ 128 h 208"/>
                  <a:gd name="T52" fmla="*/ 32 w 472"/>
                  <a:gd name="T53" fmla="*/ 128 h 208"/>
                  <a:gd name="T54" fmla="*/ 72 w 472"/>
                  <a:gd name="T55" fmla="*/ 120 h 208"/>
                  <a:gd name="T56" fmla="*/ 104 w 472"/>
                  <a:gd name="T57" fmla="*/ 144 h 208"/>
                  <a:gd name="T58" fmla="*/ 64 w 472"/>
                  <a:gd name="T59" fmla="*/ 152 h 208"/>
                  <a:gd name="T60" fmla="*/ 56 w 472"/>
                  <a:gd name="T61" fmla="*/ 160 h 208"/>
                  <a:gd name="T62" fmla="*/ 80 w 472"/>
                  <a:gd name="T63" fmla="*/ 184 h 208"/>
                  <a:gd name="T64" fmla="*/ 88 w 472"/>
                  <a:gd name="T65" fmla="*/ 192 h 208"/>
                  <a:gd name="T66" fmla="*/ 96 w 472"/>
                  <a:gd name="T67" fmla="*/ 192 h 208"/>
                  <a:gd name="T68" fmla="*/ 128 w 472"/>
                  <a:gd name="T69" fmla="*/ 208 h 208"/>
                  <a:gd name="T70" fmla="*/ 120 w 472"/>
                  <a:gd name="T71" fmla="*/ 152 h 208"/>
                  <a:gd name="T72" fmla="*/ 200 w 472"/>
                  <a:gd name="T73" fmla="*/ 176 h 208"/>
                  <a:gd name="T74" fmla="*/ 248 w 472"/>
                  <a:gd name="T75" fmla="*/ 184 h 208"/>
                  <a:gd name="T76" fmla="*/ 264 w 472"/>
                  <a:gd name="T77" fmla="*/ 200 h 208"/>
                  <a:gd name="T78" fmla="*/ 288 w 472"/>
                  <a:gd name="T79" fmla="*/ 208 h 208"/>
                  <a:gd name="T80" fmla="*/ 312 w 472"/>
                  <a:gd name="T81" fmla="*/ 184 h 208"/>
                  <a:gd name="T82" fmla="*/ 344 w 472"/>
                  <a:gd name="T83" fmla="*/ 184 h 208"/>
                  <a:gd name="T84" fmla="*/ 360 w 472"/>
                  <a:gd name="T85" fmla="*/ 184 h 208"/>
                  <a:gd name="T86" fmla="*/ 424 w 472"/>
                  <a:gd name="T87" fmla="*/ 192 h 208"/>
                  <a:gd name="T88" fmla="*/ 416 w 472"/>
                  <a:gd name="T89" fmla="*/ 152 h 208"/>
                  <a:gd name="T90" fmla="*/ 432 w 472"/>
                  <a:gd name="T91" fmla="*/ 120 h 208"/>
                  <a:gd name="T92" fmla="*/ 464 w 472"/>
                  <a:gd name="T93" fmla="*/ 120 h 208"/>
                  <a:gd name="T94" fmla="*/ 472 w 472"/>
                  <a:gd name="T95" fmla="*/ 96 h 20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72"/>
                  <a:gd name="T145" fmla="*/ 0 h 208"/>
                  <a:gd name="T146" fmla="*/ 472 w 472"/>
                  <a:gd name="T147" fmla="*/ 208 h 20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72" h="208">
                    <a:moveTo>
                      <a:pt x="472" y="96"/>
                    </a:moveTo>
                    <a:lnTo>
                      <a:pt x="472" y="88"/>
                    </a:lnTo>
                    <a:lnTo>
                      <a:pt x="464" y="80"/>
                    </a:lnTo>
                    <a:lnTo>
                      <a:pt x="456" y="88"/>
                    </a:lnTo>
                    <a:lnTo>
                      <a:pt x="448" y="80"/>
                    </a:lnTo>
                    <a:lnTo>
                      <a:pt x="416" y="64"/>
                    </a:lnTo>
                    <a:lnTo>
                      <a:pt x="392" y="64"/>
                    </a:lnTo>
                    <a:lnTo>
                      <a:pt x="384" y="56"/>
                    </a:lnTo>
                    <a:lnTo>
                      <a:pt x="376" y="64"/>
                    </a:lnTo>
                    <a:lnTo>
                      <a:pt x="344" y="32"/>
                    </a:lnTo>
                    <a:lnTo>
                      <a:pt x="320" y="16"/>
                    </a:lnTo>
                    <a:lnTo>
                      <a:pt x="312" y="16"/>
                    </a:lnTo>
                    <a:lnTo>
                      <a:pt x="296" y="24"/>
                    </a:lnTo>
                    <a:lnTo>
                      <a:pt x="288" y="24"/>
                    </a:lnTo>
                    <a:lnTo>
                      <a:pt x="288" y="16"/>
                    </a:lnTo>
                    <a:lnTo>
                      <a:pt x="272" y="16"/>
                    </a:lnTo>
                    <a:lnTo>
                      <a:pt x="256" y="16"/>
                    </a:lnTo>
                    <a:lnTo>
                      <a:pt x="256" y="8"/>
                    </a:lnTo>
                    <a:lnTo>
                      <a:pt x="248" y="0"/>
                    </a:lnTo>
                    <a:lnTo>
                      <a:pt x="224" y="0"/>
                    </a:lnTo>
                    <a:lnTo>
                      <a:pt x="224" y="8"/>
                    </a:lnTo>
                    <a:lnTo>
                      <a:pt x="200" y="8"/>
                    </a:lnTo>
                    <a:lnTo>
                      <a:pt x="160" y="16"/>
                    </a:lnTo>
                    <a:lnTo>
                      <a:pt x="144" y="16"/>
                    </a:lnTo>
                    <a:lnTo>
                      <a:pt x="144" y="24"/>
                    </a:lnTo>
                    <a:lnTo>
                      <a:pt x="152" y="24"/>
                    </a:lnTo>
                    <a:lnTo>
                      <a:pt x="152" y="32"/>
                    </a:lnTo>
                    <a:lnTo>
                      <a:pt x="144" y="40"/>
                    </a:lnTo>
                    <a:lnTo>
                      <a:pt x="152" y="40"/>
                    </a:lnTo>
                    <a:lnTo>
                      <a:pt x="144" y="48"/>
                    </a:lnTo>
                    <a:lnTo>
                      <a:pt x="168" y="56"/>
                    </a:lnTo>
                    <a:lnTo>
                      <a:pt x="160" y="64"/>
                    </a:lnTo>
                    <a:lnTo>
                      <a:pt x="144" y="64"/>
                    </a:lnTo>
                    <a:lnTo>
                      <a:pt x="128" y="64"/>
                    </a:lnTo>
                    <a:lnTo>
                      <a:pt x="112" y="64"/>
                    </a:lnTo>
                    <a:lnTo>
                      <a:pt x="96" y="64"/>
                    </a:lnTo>
                    <a:lnTo>
                      <a:pt x="88" y="64"/>
                    </a:lnTo>
                    <a:lnTo>
                      <a:pt x="88" y="72"/>
                    </a:lnTo>
                    <a:lnTo>
                      <a:pt x="72" y="56"/>
                    </a:lnTo>
                    <a:lnTo>
                      <a:pt x="56" y="48"/>
                    </a:lnTo>
                    <a:lnTo>
                      <a:pt x="48" y="56"/>
                    </a:lnTo>
                    <a:lnTo>
                      <a:pt x="40" y="56"/>
                    </a:lnTo>
                    <a:lnTo>
                      <a:pt x="24" y="64"/>
                    </a:lnTo>
                    <a:lnTo>
                      <a:pt x="16" y="64"/>
                    </a:lnTo>
                    <a:lnTo>
                      <a:pt x="24" y="80"/>
                    </a:lnTo>
                    <a:lnTo>
                      <a:pt x="16" y="80"/>
                    </a:lnTo>
                    <a:lnTo>
                      <a:pt x="8" y="72"/>
                    </a:lnTo>
                    <a:lnTo>
                      <a:pt x="0" y="96"/>
                    </a:lnTo>
                    <a:lnTo>
                      <a:pt x="8" y="104"/>
                    </a:lnTo>
                    <a:lnTo>
                      <a:pt x="8" y="112"/>
                    </a:lnTo>
                    <a:lnTo>
                      <a:pt x="24" y="112"/>
                    </a:lnTo>
                    <a:lnTo>
                      <a:pt x="32" y="128"/>
                    </a:lnTo>
                    <a:lnTo>
                      <a:pt x="24" y="128"/>
                    </a:lnTo>
                    <a:lnTo>
                      <a:pt x="32" y="128"/>
                    </a:lnTo>
                    <a:lnTo>
                      <a:pt x="56" y="120"/>
                    </a:lnTo>
                    <a:lnTo>
                      <a:pt x="72" y="120"/>
                    </a:lnTo>
                    <a:lnTo>
                      <a:pt x="88" y="128"/>
                    </a:lnTo>
                    <a:lnTo>
                      <a:pt x="104" y="144"/>
                    </a:lnTo>
                    <a:lnTo>
                      <a:pt x="72" y="144"/>
                    </a:lnTo>
                    <a:lnTo>
                      <a:pt x="64" y="152"/>
                    </a:lnTo>
                    <a:lnTo>
                      <a:pt x="72" y="160"/>
                    </a:lnTo>
                    <a:lnTo>
                      <a:pt x="56" y="160"/>
                    </a:lnTo>
                    <a:lnTo>
                      <a:pt x="64" y="160"/>
                    </a:lnTo>
                    <a:lnTo>
                      <a:pt x="80" y="184"/>
                    </a:lnTo>
                    <a:lnTo>
                      <a:pt x="88" y="184"/>
                    </a:lnTo>
                    <a:lnTo>
                      <a:pt x="88" y="192"/>
                    </a:lnTo>
                    <a:lnTo>
                      <a:pt x="88" y="200"/>
                    </a:lnTo>
                    <a:lnTo>
                      <a:pt x="96" y="192"/>
                    </a:lnTo>
                    <a:lnTo>
                      <a:pt x="104" y="192"/>
                    </a:lnTo>
                    <a:lnTo>
                      <a:pt x="128" y="208"/>
                    </a:lnTo>
                    <a:lnTo>
                      <a:pt x="136" y="208"/>
                    </a:lnTo>
                    <a:lnTo>
                      <a:pt x="120" y="152"/>
                    </a:lnTo>
                    <a:lnTo>
                      <a:pt x="152" y="144"/>
                    </a:lnTo>
                    <a:lnTo>
                      <a:pt x="200" y="176"/>
                    </a:lnTo>
                    <a:lnTo>
                      <a:pt x="232" y="168"/>
                    </a:lnTo>
                    <a:lnTo>
                      <a:pt x="248" y="184"/>
                    </a:lnTo>
                    <a:lnTo>
                      <a:pt x="256" y="200"/>
                    </a:lnTo>
                    <a:lnTo>
                      <a:pt x="264" y="200"/>
                    </a:lnTo>
                    <a:lnTo>
                      <a:pt x="264" y="208"/>
                    </a:lnTo>
                    <a:lnTo>
                      <a:pt x="288" y="208"/>
                    </a:lnTo>
                    <a:lnTo>
                      <a:pt x="312" y="192"/>
                    </a:lnTo>
                    <a:lnTo>
                      <a:pt x="312" y="184"/>
                    </a:lnTo>
                    <a:lnTo>
                      <a:pt x="336" y="192"/>
                    </a:lnTo>
                    <a:lnTo>
                      <a:pt x="344" y="184"/>
                    </a:lnTo>
                    <a:lnTo>
                      <a:pt x="344" y="176"/>
                    </a:lnTo>
                    <a:lnTo>
                      <a:pt x="360" y="184"/>
                    </a:lnTo>
                    <a:lnTo>
                      <a:pt x="408" y="184"/>
                    </a:lnTo>
                    <a:lnTo>
                      <a:pt x="424" y="192"/>
                    </a:lnTo>
                    <a:lnTo>
                      <a:pt x="424" y="176"/>
                    </a:lnTo>
                    <a:lnTo>
                      <a:pt x="416" y="152"/>
                    </a:lnTo>
                    <a:lnTo>
                      <a:pt x="432" y="144"/>
                    </a:lnTo>
                    <a:lnTo>
                      <a:pt x="432" y="120"/>
                    </a:lnTo>
                    <a:lnTo>
                      <a:pt x="456" y="120"/>
                    </a:lnTo>
                    <a:lnTo>
                      <a:pt x="464" y="120"/>
                    </a:lnTo>
                    <a:lnTo>
                      <a:pt x="464" y="104"/>
                    </a:lnTo>
                    <a:lnTo>
                      <a:pt x="472" y="9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2" name="Freeform 152">
                <a:extLst>
                  <a:ext uri="{FF2B5EF4-FFF2-40B4-BE49-F238E27FC236}">
                    <a16:creationId xmlns:a16="http://schemas.microsoft.com/office/drawing/2014/main" id="{AD0CBDB6-C52A-4229-933B-67C8B2F28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2" y="1512"/>
                <a:ext cx="1632" cy="496"/>
              </a:xfrm>
              <a:custGeom>
                <a:avLst/>
                <a:gdLst>
                  <a:gd name="T0" fmla="*/ 448 w 1632"/>
                  <a:gd name="T1" fmla="*/ 104 h 496"/>
                  <a:gd name="T2" fmla="*/ 440 w 1632"/>
                  <a:gd name="T3" fmla="*/ 104 h 496"/>
                  <a:gd name="T4" fmla="*/ 384 w 1632"/>
                  <a:gd name="T5" fmla="*/ 48 h 496"/>
                  <a:gd name="T6" fmla="*/ 392 w 1632"/>
                  <a:gd name="T7" fmla="*/ 112 h 496"/>
                  <a:gd name="T8" fmla="*/ 304 w 1632"/>
                  <a:gd name="T9" fmla="*/ 112 h 496"/>
                  <a:gd name="T10" fmla="*/ 200 w 1632"/>
                  <a:gd name="T11" fmla="*/ 128 h 496"/>
                  <a:gd name="T12" fmla="*/ 160 w 1632"/>
                  <a:gd name="T13" fmla="*/ 112 h 496"/>
                  <a:gd name="T14" fmla="*/ 136 w 1632"/>
                  <a:gd name="T15" fmla="*/ 160 h 496"/>
                  <a:gd name="T16" fmla="*/ 72 w 1632"/>
                  <a:gd name="T17" fmla="*/ 160 h 496"/>
                  <a:gd name="T18" fmla="*/ 80 w 1632"/>
                  <a:gd name="T19" fmla="*/ 104 h 496"/>
                  <a:gd name="T20" fmla="*/ 16 w 1632"/>
                  <a:gd name="T21" fmla="*/ 120 h 496"/>
                  <a:gd name="T22" fmla="*/ 40 w 1632"/>
                  <a:gd name="T23" fmla="*/ 184 h 496"/>
                  <a:gd name="T24" fmla="*/ 0 w 1632"/>
                  <a:gd name="T25" fmla="*/ 240 h 496"/>
                  <a:gd name="T26" fmla="*/ 64 w 1632"/>
                  <a:gd name="T27" fmla="*/ 312 h 496"/>
                  <a:gd name="T28" fmla="*/ 96 w 1632"/>
                  <a:gd name="T29" fmla="*/ 336 h 496"/>
                  <a:gd name="T30" fmla="*/ 168 w 1632"/>
                  <a:gd name="T31" fmla="*/ 368 h 496"/>
                  <a:gd name="T32" fmla="*/ 152 w 1632"/>
                  <a:gd name="T33" fmla="*/ 408 h 496"/>
                  <a:gd name="T34" fmla="*/ 136 w 1632"/>
                  <a:gd name="T35" fmla="*/ 440 h 496"/>
                  <a:gd name="T36" fmla="*/ 264 w 1632"/>
                  <a:gd name="T37" fmla="*/ 488 h 496"/>
                  <a:gd name="T38" fmla="*/ 256 w 1632"/>
                  <a:gd name="T39" fmla="*/ 440 h 496"/>
                  <a:gd name="T40" fmla="*/ 272 w 1632"/>
                  <a:gd name="T41" fmla="*/ 400 h 496"/>
                  <a:gd name="T42" fmla="*/ 272 w 1632"/>
                  <a:gd name="T43" fmla="*/ 368 h 496"/>
                  <a:gd name="T44" fmla="*/ 320 w 1632"/>
                  <a:gd name="T45" fmla="*/ 344 h 496"/>
                  <a:gd name="T46" fmla="*/ 392 w 1632"/>
                  <a:gd name="T47" fmla="*/ 352 h 496"/>
                  <a:gd name="T48" fmla="*/ 400 w 1632"/>
                  <a:gd name="T49" fmla="*/ 320 h 496"/>
                  <a:gd name="T50" fmla="*/ 472 w 1632"/>
                  <a:gd name="T51" fmla="*/ 296 h 496"/>
                  <a:gd name="T52" fmla="*/ 536 w 1632"/>
                  <a:gd name="T53" fmla="*/ 304 h 496"/>
                  <a:gd name="T54" fmla="*/ 624 w 1632"/>
                  <a:gd name="T55" fmla="*/ 352 h 496"/>
                  <a:gd name="T56" fmla="*/ 712 w 1632"/>
                  <a:gd name="T57" fmla="*/ 368 h 496"/>
                  <a:gd name="T58" fmla="*/ 808 w 1632"/>
                  <a:gd name="T59" fmla="*/ 368 h 496"/>
                  <a:gd name="T60" fmla="*/ 896 w 1632"/>
                  <a:gd name="T61" fmla="*/ 360 h 496"/>
                  <a:gd name="T62" fmla="*/ 1072 w 1632"/>
                  <a:gd name="T63" fmla="*/ 368 h 496"/>
                  <a:gd name="T64" fmla="*/ 1104 w 1632"/>
                  <a:gd name="T65" fmla="*/ 312 h 496"/>
                  <a:gd name="T66" fmla="*/ 1248 w 1632"/>
                  <a:gd name="T67" fmla="*/ 400 h 496"/>
                  <a:gd name="T68" fmla="*/ 1280 w 1632"/>
                  <a:gd name="T69" fmla="*/ 432 h 496"/>
                  <a:gd name="T70" fmla="*/ 1328 w 1632"/>
                  <a:gd name="T71" fmla="*/ 464 h 496"/>
                  <a:gd name="T72" fmla="*/ 1272 w 1632"/>
                  <a:gd name="T73" fmla="*/ 304 h 496"/>
                  <a:gd name="T74" fmla="*/ 1240 w 1632"/>
                  <a:gd name="T75" fmla="*/ 296 h 496"/>
                  <a:gd name="T76" fmla="*/ 1312 w 1632"/>
                  <a:gd name="T77" fmla="*/ 224 h 496"/>
                  <a:gd name="T78" fmla="*/ 1368 w 1632"/>
                  <a:gd name="T79" fmla="*/ 200 h 496"/>
                  <a:gd name="T80" fmla="*/ 1432 w 1632"/>
                  <a:gd name="T81" fmla="*/ 184 h 496"/>
                  <a:gd name="T82" fmla="*/ 1432 w 1632"/>
                  <a:gd name="T83" fmla="*/ 264 h 496"/>
                  <a:gd name="T84" fmla="*/ 1520 w 1632"/>
                  <a:gd name="T85" fmla="*/ 320 h 496"/>
                  <a:gd name="T86" fmla="*/ 1488 w 1632"/>
                  <a:gd name="T87" fmla="*/ 256 h 496"/>
                  <a:gd name="T88" fmla="*/ 1480 w 1632"/>
                  <a:gd name="T89" fmla="*/ 216 h 496"/>
                  <a:gd name="T90" fmla="*/ 1552 w 1632"/>
                  <a:gd name="T91" fmla="*/ 192 h 496"/>
                  <a:gd name="T92" fmla="*/ 1544 w 1632"/>
                  <a:gd name="T93" fmla="*/ 152 h 496"/>
                  <a:gd name="T94" fmla="*/ 1632 w 1632"/>
                  <a:gd name="T95" fmla="*/ 160 h 496"/>
                  <a:gd name="T96" fmla="*/ 1472 w 1632"/>
                  <a:gd name="T97" fmla="*/ 104 h 496"/>
                  <a:gd name="T98" fmla="*/ 1360 w 1632"/>
                  <a:gd name="T99" fmla="*/ 96 h 496"/>
                  <a:gd name="T100" fmla="*/ 1232 w 1632"/>
                  <a:gd name="T101" fmla="*/ 80 h 496"/>
                  <a:gd name="T102" fmla="*/ 1008 w 1632"/>
                  <a:gd name="T103" fmla="*/ 64 h 496"/>
                  <a:gd name="T104" fmla="*/ 936 w 1632"/>
                  <a:gd name="T105" fmla="*/ 56 h 496"/>
                  <a:gd name="T106" fmla="*/ 816 w 1632"/>
                  <a:gd name="T107" fmla="*/ 48 h 496"/>
                  <a:gd name="T108" fmla="*/ 744 w 1632"/>
                  <a:gd name="T109" fmla="*/ 48 h 496"/>
                  <a:gd name="T110" fmla="*/ 656 w 1632"/>
                  <a:gd name="T111" fmla="*/ 0 h 496"/>
                  <a:gd name="T112" fmla="*/ 512 w 1632"/>
                  <a:gd name="T113" fmla="*/ 32 h 496"/>
                  <a:gd name="T114" fmla="*/ 448 w 1632"/>
                  <a:gd name="T115" fmla="*/ 56 h 49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632"/>
                  <a:gd name="T175" fmla="*/ 0 h 496"/>
                  <a:gd name="T176" fmla="*/ 1632 w 1632"/>
                  <a:gd name="T177" fmla="*/ 496 h 49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632" h="496">
                    <a:moveTo>
                      <a:pt x="432" y="56"/>
                    </a:moveTo>
                    <a:lnTo>
                      <a:pt x="416" y="72"/>
                    </a:lnTo>
                    <a:lnTo>
                      <a:pt x="432" y="80"/>
                    </a:lnTo>
                    <a:lnTo>
                      <a:pt x="432" y="96"/>
                    </a:lnTo>
                    <a:lnTo>
                      <a:pt x="440" y="104"/>
                    </a:lnTo>
                    <a:lnTo>
                      <a:pt x="448" y="104"/>
                    </a:lnTo>
                    <a:lnTo>
                      <a:pt x="464" y="120"/>
                    </a:lnTo>
                    <a:lnTo>
                      <a:pt x="456" y="128"/>
                    </a:lnTo>
                    <a:lnTo>
                      <a:pt x="440" y="136"/>
                    </a:lnTo>
                    <a:lnTo>
                      <a:pt x="424" y="128"/>
                    </a:lnTo>
                    <a:lnTo>
                      <a:pt x="440" y="120"/>
                    </a:lnTo>
                    <a:lnTo>
                      <a:pt x="440" y="104"/>
                    </a:lnTo>
                    <a:lnTo>
                      <a:pt x="432" y="104"/>
                    </a:lnTo>
                    <a:lnTo>
                      <a:pt x="416" y="72"/>
                    </a:lnTo>
                    <a:lnTo>
                      <a:pt x="408" y="72"/>
                    </a:lnTo>
                    <a:lnTo>
                      <a:pt x="408" y="56"/>
                    </a:lnTo>
                    <a:lnTo>
                      <a:pt x="392" y="48"/>
                    </a:lnTo>
                    <a:lnTo>
                      <a:pt x="384" y="48"/>
                    </a:lnTo>
                    <a:lnTo>
                      <a:pt x="376" y="48"/>
                    </a:lnTo>
                    <a:lnTo>
                      <a:pt x="360" y="72"/>
                    </a:lnTo>
                    <a:lnTo>
                      <a:pt x="368" y="80"/>
                    </a:lnTo>
                    <a:lnTo>
                      <a:pt x="368" y="96"/>
                    </a:lnTo>
                    <a:lnTo>
                      <a:pt x="400" y="104"/>
                    </a:lnTo>
                    <a:lnTo>
                      <a:pt x="392" y="112"/>
                    </a:lnTo>
                    <a:lnTo>
                      <a:pt x="288" y="80"/>
                    </a:lnTo>
                    <a:lnTo>
                      <a:pt x="288" y="88"/>
                    </a:lnTo>
                    <a:lnTo>
                      <a:pt x="320" y="104"/>
                    </a:lnTo>
                    <a:lnTo>
                      <a:pt x="304" y="104"/>
                    </a:lnTo>
                    <a:lnTo>
                      <a:pt x="312" y="112"/>
                    </a:lnTo>
                    <a:lnTo>
                      <a:pt x="304" y="112"/>
                    </a:lnTo>
                    <a:lnTo>
                      <a:pt x="296" y="104"/>
                    </a:lnTo>
                    <a:lnTo>
                      <a:pt x="264" y="104"/>
                    </a:lnTo>
                    <a:lnTo>
                      <a:pt x="264" y="112"/>
                    </a:lnTo>
                    <a:lnTo>
                      <a:pt x="248" y="104"/>
                    </a:lnTo>
                    <a:lnTo>
                      <a:pt x="200" y="120"/>
                    </a:lnTo>
                    <a:lnTo>
                      <a:pt x="200" y="128"/>
                    </a:lnTo>
                    <a:lnTo>
                      <a:pt x="192" y="128"/>
                    </a:lnTo>
                    <a:lnTo>
                      <a:pt x="168" y="120"/>
                    </a:lnTo>
                    <a:lnTo>
                      <a:pt x="184" y="120"/>
                    </a:lnTo>
                    <a:lnTo>
                      <a:pt x="176" y="112"/>
                    </a:lnTo>
                    <a:lnTo>
                      <a:pt x="144" y="104"/>
                    </a:lnTo>
                    <a:lnTo>
                      <a:pt x="160" y="112"/>
                    </a:lnTo>
                    <a:lnTo>
                      <a:pt x="160" y="128"/>
                    </a:lnTo>
                    <a:lnTo>
                      <a:pt x="168" y="136"/>
                    </a:lnTo>
                    <a:lnTo>
                      <a:pt x="160" y="136"/>
                    </a:lnTo>
                    <a:lnTo>
                      <a:pt x="144" y="136"/>
                    </a:lnTo>
                    <a:lnTo>
                      <a:pt x="120" y="144"/>
                    </a:lnTo>
                    <a:lnTo>
                      <a:pt x="136" y="160"/>
                    </a:lnTo>
                    <a:lnTo>
                      <a:pt x="96" y="152"/>
                    </a:lnTo>
                    <a:lnTo>
                      <a:pt x="88" y="152"/>
                    </a:lnTo>
                    <a:lnTo>
                      <a:pt x="104" y="160"/>
                    </a:lnTo>
                    <a:lnTo>
                      <a:pt x="112" y="168"/>
                    </a:lnTo>
                    <a:lnTo>
                      <a:pt x="96" y="168"/>
                    </a:lnTo>
                    <a:lnTo>
                      <a:pt x="72" y="160"/>
                    </a:lnTo>
                    <a:lnTo>
                      <a:pt x="72" y="144"/>
                    </a:lnTo>
                    <a:lnTo>
                      <a:pt x="40" y="128"/>
                    </a:lnTo>
                    <a:lnTo>
                      <a:pt x="104" y="136"/>
                    </a:lnTo>
                    <a:lnTo>
                      <a:pt x="136" y="128"/>
                    </a:lnTo>
                    <a:lnTo>
                      <a:pt x="128" y="120"/>
                    </a:lnTo>
                    <a:lnTo>
                      <a:pt x="80" y="104"/>
                    </a:lnTo>
                    <a:lnTo>
                      <a:pt x="40" y="88"/>
                    </a:lnTo>
                    <a:lnTo>
                      <a:pt x="24" y="96"/>
                    </a:lnTo>
                    <a:lnTo>
                      <a:pt x="8" y="104"/>
                    </a:lnTo>
                    <a:lnTo>
                      <a:pt x="0" y="104"/>
                    </a:lnTo>
                    <a:lnTo>
                      <a:pt x="0" y="112"/>
                    </a:lnTo>
                    <a:lnTo>
                      <a:pt x="16" y="120"/>
                    </a:lnTo>
                    <a:lnTo>
                      <a:pt x="16" y="128"/>
                    </a:lnTo>
                    <a:lnTo>
                      <a:pt x="24" y="144"/>
                    </a:lnTo>
                    <a:lnTo>
                      <a:pt x="24" y="152"/>
                    </a:lnTo>
                    <a:lnTo>
                      <a:pt x="32" y="160"/>
                    </a:lnTo>
                    <a:lnTo>
                      <a:pt x="32" y="168"/>
                    </a:lnTo>
                    <a:lnTo>
                      <a:pt x="40" y="184"/>
                    </a:lnTo>
                    <a:lnTo>
                      <a:pt x="8" y="216"/>
                    </a:lnTo>
                    <a:lnTo>
                      <a:pt x="16" y="216"/>
                    </a:lnTo>
                    <a:lnTo>
                      <a:pt x="24" y="224"/>
                    </a:lnTo>
                    <a:lnTo>
                      <a:pt x="16" y="232"/>
                    </a:lnTo>
                    <a:lnTo>
                      <a:pt x="8" y="232"/>
                    </a:lnTo>
                    <a:lnTo>
                      <a:pt x="0" y="240"/>
                    </a:lnTo>
                    <a:lnTo>
                      <a:pt x="8" y="248"/>
                    </a:lnTo>
                    <a:lnTo>
                      <a:pt x="8" y="256"/>
                    </a:lnTo>
                    <a:lnTo>
                      <a:pt x="24" y="272"/>
                    </a:lnTo>
                    <a:lnTo>
                      <a:pt x="48" y="280"/>
                    </a:lnTo>
                    <a:lnTo>
                      <a:pt x="56" y="296"/>
                    </a:lnTo>
                    <a:lnTo>
                      <a:pt x="64" y="312"/>
                    </a:lnTo>
                    <a:lnTo>
                      <a:pt x="72" y="312"/>
                    </a:lnTo>
                    <a:lnTo>
                      <a:pt x="72" y="320"/>
                    </a:lnTo>
                    <a:lnTo>
                      <a:pt x="56" y="320"/>
                    </a:lnTo>
                    <a:lnTo>
                      <a:pt x="64" y="336"/>
                    </a:lnTo>
                    <a:lnTo>
                      <a:pt x="88" y="328"/>
                    </a:lnTo>
                    <a:lnTo>
                      <a:pt x="96" y="336"/>
                    </a:lnTo>
                    <a:lnTo>
                      <a:pt x="96" y="344"/>
                    </a:lnTo>
                    <a:lnTo>
                      <a:pt x="104" y="344"/>
                    </a:lnTo>
                    <a:lnTo>
                      <a:pt x="112" y="360"/>
                    </a:lnTo>
                    <a:lnTo>
                      <a:pt x="136" y="360"/>
                    </a:lnTo>
                    <a:lnTo>
                      <a:pt x="144" y="368"/>
                    </a:lnTo>
                    <a:lnTo>
                      <a:pt x="168" y="368"/>
                    </a:lnTo>
                    <a:lnTo>
                      <a:pt x="168" y="376"/>
                    </a:lnTo>
                    <a:lnTo>
                      <a:pt x="168" y="384"/>
                    </a:lnTo>
                    <a:lnTo>
                      <a:pt x="168" y="400"/>
                    </a:lnTo>
                    <a:lnTo>
                      <a:pt x="160" y="392"/>
                    </a:lnTo>
                    <a:lnTo>
                      <a:pt x="152" y="400"/>
                    </a:lnTo>
                    <a:lnTo>
                      <a:pt x="152" y="408"/>
                    </a:lnTo>
                    <a:lnTo>
                      <a:pt x="168" y="408"/>
                    </a:lnTo>
                    <a:lnTo>
                      <a:pt x="144" y="416"/>
                    </a:lnTo>
                    <a:lnTo>
                      <a:pt x="152" y="416"/>
                    </a:lnTo>
                    <a:lnTo>
                      <a:pt x="144" y="432"/>
                    </a:lnTo>
                    <a:lnTo>
                      <a:pt x="136" y="432"/>
                    </a:lnTo>
                    <a:lnTo>
                      <a:pt x="136" y="440"/>
                    </a:lnTo>
                    <a:lnTo>
                      <a:pt x="144" y="440"/>
                    </a:lnTo>
                    <a:lnTo>
                      <a:pt x="184" y="464"/>
                    </a:lnTo>
                    <a:lnTo>
                      <a:pt x="216" y="464"/>
                    </a:lnTo>
                    <a:lnTo>
                      <a:pt x="232" y="472"/>
                    </a:lnTo>
                    <a:lnTo>
                      <a:pt x="248" y="472"/>
                    </a:lnTo>
                    <a:lnTo>
                      <a:pt x="264" y="488"/>
                    </a:lnTo>
                    <a:lnTo>
                      <a:pt x="272" y="496"/>
                    </a:lnTo>
                    <a:lnTo>
                      <a:pt x="280" y="496"/>
                    </a:lnTo>
                    <a:lnTo>
                      <a:pt x="288" y="488"/>
                    </a:lnTo>
                    <a:lnTo>
                      <a:pt x="272" y="472"/>
                    </a:lnTo>
                    <a:lnTo>
                      <a:pt x="272" y="456"/>
                    </a:lnTo>
                    <a:lnTo>
                      <a:pt x="256" y="440"/>
                    </a:lnTo>
                    <a:lnTo>
                      <a:pt x="264" y="424"/>
                    </a:lnTo>
                    <a:lnTo>
                      <a:pt x="272" y="424"/>
                    </a:lnTo>
                    <a:lnTo>
                      <a:pt x="280" y="416"/>
                    </a:lnTo>
                    <a:lnTo>
                      <a:pt x="272" y="416"/>
                    </a:lnTo>
                    <a:lnTo>
                      <a:pt x="280" y="416"/>
                    </a:lnTo>
                    <a:lnTo>
                      <a:pt x="272" y="400"/>
                    </a:lnTo>
                    <a:lnTo>
                      <a:pt x="256" y="400"/>
                    </a:lnTo>
                    <a:lnTo>
                      <a:pt x="256" y="392"/>
                    </a:lnTo>
                    <a:lnTo>
                      <a:pt x="248" y="384"/>
                    </a:lnTo>
                    <a:lnTo>
                      <a:pt x="256" y="360"/>
                    </a:lnTo>
                    <a:lnTo>
                      <a:pt x="264" y="368"/>
                    </a:lnTo>
                    <a:lnTo>
                      <a:pt x="272" y="368"/>
                    </a:lnTo>
                    <a:lnTo>
                      <a:pt x="264" y="352"/>
                    </a:lnTo>
                    <a:lnTo>
                      <a:pt x="272" y="352"/>
                    </a:lnTo>
                    <a:lnTo>
                      <a:pt x="288" y="344"/>
                    </a:lnTo>
                    <a:lnTo>
                      <a:pt x="296" y="344"/>
                    </a:lnTo>
                    <a:lnTo>
                      <a:pt x="304" y="336"/>
                    </a:lnTo>
                    <a:lnTo>
                      <a:pt x="320" y="344"/>
                    </a:lnTo>
                    <a:lnTo>
                      <a:pt x="336" y="360"/>
                    </a:lnTo>
                    <a:lnTo>
                      <a:pt x="336" y="352"/>
                    </a:lnTo>
                    <a:lnTo>
                      <a:pt x="344" y="352"/>
                    </a:lnTo>
                    <a:lnTo>
                      <a:pt x="360" y="352"/>
                    </a:lnTo>
                    <a:lnTo>
                      <a:pt x="376" y="352"/>
                    </a:lnTo>
                    <a:lnTo>
                      <a:pt x="392" y="352"/>
                    </a:lnTo>
                    <a:lnTo>
                      <a:pt x="408" y="352"/>
                    </a:lnTo>
                    <a:lnTo>
                      <a:pt x="416" y="344"/>
                    </a:lnTo>
                    <a:lnTo>
                      <a:pt x="392" y="336"/>
                    </a:lnTo>
                    <a:lnTo>
                      <a:pt x="400" y="328"/>
                    </a:lnTo>
                    <a:lnTo>
                      <a:pt x="392" y="328"/>
                    </a:lnTo>
                    <a:lnTo>
                      <a:pt x="400" y="320"/>
                    </a:lnTo>
                    <a:lnTo>
                      <a:pt x="400" y="312"/>
                    </a:lnTo>
                    <a:lnTo>
                      <a:pt x="392" y="312"/>
                    </a:lnTo>
                    <a:lnTo>
                      <a:pt x="392" y="304"/>
                    </a:lnTo>
                    <a:lnTo>
                      <a:pt x="408" y="304"/>
                    </a:lnTo>
                    <a:lnTo>
                      <a:pt x="448" y="296"/>
                    </a:lnTo>
                    <a:lnTo>
                      <a:pt x="472" y="296"/>
                    </a:lnTo>
                    <a:lnTo>
                      <a:pt x="472" y="288"/>
                    </a:lnTo>
                    <a:lnTo>
                      <a:pt x="496" y="288"/>
                    </a:lnTo>
                    <a:lnTo>
                      <a:pt x="504" y="296"/>
                    </a:lnTo>
                    <a:lnTo>
                      <a:pt x="504" y="304"/>
                    </a:lnTo>
                    <a:lnTo>
                      <a:pt x="520" y="304"/>
                    </a:lnTo>
                    <a:lnTo>
                      <a:pt x="536" y="304"/>
                    </a:lnTo>
                    <a:lnTo>
                      <a:pt x="536" y="312"/>
                    </a:lnTo>
                    <a:lnTo>
                      <a:pt x="544" y="312"/>
                    </a:lnTo>
                    <a:lnTo>
                      <a:pt x="560" y="304"/>
                    </a:lnTo>
                    <a:lnTo>
                      <a:pt x="568" y="304"/>
                    </a:lnTo>
                    <a:lnTo>
                      <a:pt x="592" y="320"/>
                    </a:lnTo>
                    <a:lnTo>
                      <a:pt x="624" y="352"/>
                    </a:lnTo>
                    <a:lnTo>
                      <a:pt x="632" y="344"/>
                    </a:lnTo>
                    <a:lnTo>
                      <a:pt x="640" y="352"/>
                    </a:lnTo>
                    <a:lnTo>
                      <a:pt x="664" y="352"/>
                    </a:lnTo>
                    <a:lnTo>
                      <a:pt x="696" y="368"/>
                    </a:lnTo>
                    <a:lnTo>
                      <a:pt x="704" y="376"/>
                    </a:lnTo>
                    <a:lnTo>
                      <a:pt x="712" y="368"/>
                    </a:lnTo>
                    <a:lnTo>
                      <a:pt x="720" y="376"/>
                    </a:lnTo>
                    <a:lnTo>
                      <a:pt x="720" y="384"/>
                    </a:lnTo>
                    <a:lnTo>
                      <a:pt x="728" y="376"/>
                    </a:lnTo>
                    <a:lnTo>
                      <a:pt x="768" y="352"/>
                    </a:lnTo>
                    <a:lnTo>
                      <a:pt x="792" y="360"/>
                    </a:lnTo>
                    <a:lnTo>
                      <a:pt x="808" y="368"/>
                    </a:lnTo>
                    <a:lnTo>
                      <a:pt x="840" y="368"/>
                    </a:lnTo>
                    <a:lnTo>
                      <a:pt x="840" y="352"/>
                    </a:lnTo>
                    <a:lnTo>
                      <a:pt x="832" y="344"/>
                    </a:lnTo>
                    <a:lnTo>
                      <a:pt x="840" y="336"/>
                    </a:lnTo>
                    <a:lnTo>
                      <a:pt x="872" y="344"/>
                    </a:lnTo>
                    <a:lnTo>
                      <a:pt x="896" y="360"/>
                    </a:lnTo>
                    <a:lnTo>
                      <a:pt x="928" y="360"/>
                    </a:lnTo>
                    <a:lnTo>
                      <a:pt x="984" y="376"/>
                    </a:lnTo>
                    <a:lnTo>
                      <a:pt x="1016" y="368"/>
                    </a:lnTo>
                    <a:lnTo>
                      <a:pt x="1032" y="360"/>
                    </a:lnTo>
                    <a:lnTo>
                      <a:pt x="1056" y="368"/>
                    </a:lnTo>
                    <a:lnTo>
                      <a:pt x="1072" y="368"/>
                    </a:lnTo>
                    <a:lnTo>
                      <a:pt x="1088" y="360"/>
                    </a:lnTo>
                    <a:lnTo>
                      <a:pt x="1080" y="344"/>
                    </a:lnTo>
                    <a:lnTo>
                      <a:pt x="1088" y="336"/>
                    </a:lnTo>
                    <a:lnTo>
                      <a:pt x="1072" y="328"/>
                    </a:lnTo>
                    <a:lnTo>
                      <a:pt x="1080" y="320"/>
                    </a:lnTo>
                    <a:lnTo>
                      <a:pt x="1104" y="312"/>
                    </a:lnTo>
                    <a:lnTo>
                      <a:pt x="1136" y="320"/>
                    </a:lnTo>
                    <a:lnTo>
                      <a:pt x="1168" y="352"/>
                    </a:lnTo>
                    <a:lnTo>
                      <a:pt x="1184" y="368"/>
                    </a:lnTo>
                    <a:lnTo>
                      <a:pt x="1208" y="376"/>
                    </a:lnTo>
                    <a:lnTo>
                      <a:pt x="1232" y="384"/>
                    </a:lnTo>
                    <a:lnTo>
                      <a:pt x="1248" y="400"/>
                    </a:lnTo>
                    <a:lnTo>
                      <a:pt x="1256" y="400"/>
                    </a:lnTo>
                    <a:lnTo>
                      <a:pt x="1280" y="384"/>
                    </a:lnTo>
                    <a:lnTo>
                      <a:pt x="1288" y="400"/>
                    </a:lnTo>
                    <a:lnTo>
                      <a:pt x="1288" y="408"/>
                    </a:lnTo>
                    <a:lnTo>
                      <a:pt x="1296" y="440"/>
                    </a:lnTo>
                    <a:lnTo>
                      <a:pt x="1280" y="432"/>
                    </a:lnTo>
                    <a:lnTo>
                      <a:pt x="1272" y="440"/>
                    </a:lnTo>
                    <a:lnTo>
                      <a:pt x="1288" y="464"/>
                    </a:lnTo>
                    <a:lnTo>
                      <a:pt x="1288" y="472"/>
                    </a:lnTo>
                    <a:lnTo>
                      <a:pt x="1296" y="464"/>
                    </a:lnTo>
                    <a:lnTo>
                      <a:pt x="1312" y="472"/>
                    </a:lnTo>
                    <a:lnTo>
                      <a:pt x="1328" y="464"/>
                    </a:lnTo>
                    <a:lnTo>
                      <a:pt x="1328" y="448"/>
                    </a:lnTo>
                    <a:lnTo>
                      <a:pt x="1344" y="432"/>
                    </a:lnTo>
                    <a:lnTo>
                      <a:pt x="1344" y="384"/>
                    </a:lnTo>
                    <a:lnTo>
                      <a:pt x="1320" y="352"/>
                    </a:lnTo>
                    <a:lnTo>
                      <a:pt x="1304" y="320"/>
                    </a:lnTo>
                    <a:lnTo>
                      <a:pt x="1272" y="304"/>
                    </a:lnTo>
                    <a:lnTo>
                      <a:pt x="1264" y="312"/>
                    </a:lnTo>
                    <a:lnTo>
                      <a:pt x="1256" y="312"/>
                    </a:lnTo>
                    <a:lnTo>
                      <a:pt x="1256" y="304"/>
                    </a:lnTo>
                    <a:lnTo>
                      <a:pt x="1248" y="304"/>
                    </a:lnTo>
                    <a:lnTo>
                      <a:pt x="1248" y="312"/>
                    </a:lnTo>
                    <a:lnTo>
                      <a:pt x="1240" y="296"/>
                    </a:lnTo>
                    <a:lnTo>
                      <a:pt x="1216" y="296"/>
                    </a:lnTo>
                    <a:lnTo>
                      <a:pt x="1232" y="280"/>
                    </a:lnTo>
                    <a:lnTo>
                      <a:pt x="1240" y="232"/>
                    </a:lnTo>
                    <a:lnTo>
                      <a:pt x="1256" y="232"/>
                    </a:lnTo>
                    <a:lnTo>
                      <a:pt x="1312" y="232"/>
                    </a:lnTo>
                    <a:lnTo>
                      <a:pt x="1312" y="224"/>
                    </a:lnTo>
                    <a:lnTo>
                      <a:pt x="1336" y="224"/>
                    </a:lnTo>
                    <a:lnTo>
                      <a:pt x="1344" y="240"/>
                    </a:lnTo>
                    <a:lnTo>
                      <a:pt x="1384" y="232"/>
                    </a:lnTo>
                    <a:lnTo>
                      <a:pt x="1368" y="232"/>
                    </a:lnTo>
                    <a:lnTo>
                      <a:pt x="1360" y="224"/>
                    </a:lnTo>
                    <a:lnTo>
                      <a:pt x="1368" y="200"/>
                    </a:lnTo>
                    <a:lnTo>
                      <a:pt x="1400" y="200"/>
                    </a:lnTo>
                    <a:lnTo>
                      <a:pt x="1400" y="208"/>
                    </a:lnTo>
                    <a:lnTo>
                      <a:pt x="1416" y="216"/>
                    </a:lnTo>
                    <a:lnTo>
                      <a:pt x="1424" y="200"/>
                    </a:lnTo>
                    <a:lnTo>
                      <a:pt x="1416" y="184"/>
                    </a:lnTo>
                    <a:lnTo>
                      <a:pt x="1432" y="184"/>
                    </a:lnTo>
                    <a:lnTo>
                      <a:pt x="1432" y="192"/>
                    </a:lnTo>
                    <a:lnTo>
                      <a:pt x="1448" y="208"/>
                    </a:lnTo>
                    <a:lnTo>
                      <a:pt x="1440" y="216"/>
                    </a:lnTo>
                    <a:lnTo>
                      <a:pt x="1432" y="248"/>
                    </a:lnTo>
                    <a:lnTo>
                      <a:pt x="1424" y="256"/>
                    </a:lnTo>
                    <a:lnTo>
                      <a:pt x="1432" y="264"/>
                    </a:lnTo>
                    <a:lnTo>
                      <a:pt x="1424" y="264"/>
                    </a:lnTo>
                    <a:lnTo>
                      <a:pt x="1440" y="288"/>
                    </a:lnTo>
                    <a:lnTo>
                      <a:pt x="1512" y="352"/>
                    </a:lnTo>
                    <a:lnTo>
                      <a:pt x="1512" y="344"/>
                    </a:lnTo>
                    <a:lnTo>
                      <a:pt x="1512" y="320"/>
                    </a:lnTo>
                    <a:lnTo>
                      <a:pt x="1520" y="320"/>
                    </a:lnTo>
                    <a:lnTo>
                      <a:pt x="1504" y="304"/>
                    </a:lnTo>
                    <a:lnTo>
                      <a:pt x="1520" y="296"/>
                    </a:lnTo>
                    <a:lnTo>
                      <a:pt x="1504" y="280"/>
                    </a:lnTo>
                    <a:lnTo>
                      <a:pt x="1512" y="272"/>
                    </a:lnTo>
                    <a:lnTo>
                      <a:pt x="1496" y="264"/>
                    </a:lnTo>
                    <a:lnTo>
                      <a:pt x="1488" y="256"/>
                    </a:lnTo>
                    <a:lnTo>
                      <a:pt x="1480" y="256"/>
                    </a:lnTo>
                    <a:lnTo>
                      <a:pt x="1472" y="248"/>
                    </a:lnTo>
                    <a:lnTo>
                      <a:pt x="1472" y="232"/>
                    </a:lnTo>
                    <a:lnTo>
                      <a:pt x="1464" y="224"/>
                    </a:lnTo>
                    <a:lnTo>
                      <a:pt x="1472" y="224"/>
                    </a:lnTo>
                    <a:lnTo>
                      <a:pt x="1480" y="216"/>
                    </a:lnTo>
                    <a:lnTo>
                      <a:pt x="1496" y="224"/>
                    </a:lnTo>
                    <a:lnTo>
                      <a:pt x="1496" y="216"/>
                    </a:lnTo>
                    <a:lnTo>
                      <a:pt x="1504" y="216"/>
                    </a:lnTo>
                    <a:lnTo>
                      <a:pt x="1536" y="224"/>
                    </a:lnTo>
                    <a:lnTo>
                      <a:pt x="1528" y="216"/>
                    </a:lnTo>
                    <a:lnTo>
                      <a:pt x="1552" y="192"/>
                    </a:lnTo>
                    <a:lnTo>
                      <a:pt x="1560" y="184"/>
                    </a:lnTo>
                    <a:lnTo>
                      <a:pt x="1584" y="192"/>
                    </a:lnTo>
                    <a:lnTo>
                      <a:pt x="1584" y="184"/>
                    </a:lnTo>
                    <a:lnTo>
                      <a:pt x="1528" y="160"/>
                    </a:lnTo>
                    <a:lnTo>
                      <a:pt x="1544" y="160"/>
                    </a:lnTo>
                    <a:lnTo>
                      <a:pt x="1544" y="152"/>
                    </a:lnTo>
                    <a:lnTo>
                      <a:pt x="1544" y="144"/>
                    </a:lnTo>
                    <a:lnTo>
                      <a:pt x="1528" y="144"/>
                    </a:lnTo>
                    <a:lnTo>
                      <a:pt x="1536" y="136"/>
                    </a:lnTo>
                    <a:lnTo>
                      <a:pt x="1552" y="144"/>
                    </a:lnTo>
                    <a:lnTo>
                      <a:pt x="1584" y="152"/>
                    </a:lnTo>
                    <a:lnTo>
                      <a:pt x="1632" y="160"/>
                    </a:lnTo>
                    <a:lnTo>
                      <a:pt x="1616" y="144"/>
                    </a:lnTo>
                    <a:lnTo>
                      <a:pt x="1632" y="144"/>
                    </a:lnTo>
                    <a:lnTo>
                      <a:pt x="1632" y="136"/>
                    </a:lnTo>
                    <a:lnTo>
                      <a:pt x="1592" y="128"/>
                    </a:lnTo>
                    <a:lnTo>
                      <a:pt x="1568" y="128"/>
                    </a:lnTo>
                    <a:lnTo>
                      <a:pt x="1472" y="104"/>
                    </a:lnTo>
                    <a:lnTo>
                      <a:pt x="1424" y="88"/>
                    </a:lnTo>
                    <a:lnTo>
                      <a:pt x="1360" y="88"/>
                    </a:lnTo>
                    <a:lnTo>
                      <a:pt x="1384" y="104"/>
                    </a:lnTo>
                    <a:lnTo>
                      <a:pt x="1376" y="104"/>
                    </a:lnTo>
                    <a:lnTo>
                      <a:pt x="1352" y="96"/>
                    </a:lnTo>
                    <a:lnTo>
                      <a:pt x="1360" y="96"/>
                    </a:lnTo>
                    <a:lnTo>
                      <a:pt x="1360" y="88"/>
                    </a:lnTo>
                    <a:lnTo>
                      <a:pt x="1344" y="88"/>
                    </a:lnTo>
                    <a:lnTo>
                      <a:pt x="1344" y="96"/>
                    </a:lnTo>
                    <a:lnTo>
                      <a:pt x="1280" y="96"/>
                    </a:lnTo>
                    <a:lnTo>
                      <a:pt x="1256" y="88"/>
                    </a:lnTo>
                    <a:lnTo>
                      <a:pt x="1232" y="80"/>
                    </a:lnTo>
                    <a:lnTo>
                      <a:pt x="1176" y="80"/>
                    </a:lnTo>
                    <a:lnTo>
                      <a:pt x="1128" y="64"/>
                    </a:lnTo>
                    <a:lnTo>
                      <a:pt x="1032" y="56"/>
                    </a:lnTo>
                    <a:lnTo>
                      <a:pt x="1032" y="64"/>
                    </a:lnTo>
                    <a:lnTo>
                      <a:pt x="1048" y="72"/>
                    </a:lnTo>
                    <a:lnTo>
                      <a:pt x="1008" y="64"/>
                    </a:lnTo>
                    <a:lnTo>
                      <a:pt x="1000" y="72"/>
                    </a:lnTo>
                    <a:lnTo>
                      <a:pt x="968" y="64"/>
                    </a:lnTo>
                    <a:lnTo>
                      <a:pt x="976" y="72"/>
                    </a:lnTo>
                    <a:lnTo>
                      <a:pt x="976" y="80"/>
                    </a:lnTo>
                    <a:lnTo>
                      <a:pt x="936" y="64"/>
                    </a:lnTo>
                    <a:lnTo>
                      <a:pt x="936" y="56"/>
                    </a:lnTo>
                    <a:lnTo>
                      <a:pt x="912" y="48"/>
                    </a:lnTo>
                    <a:lnTo>
                      <a:pt x="856" y="40"/>
                    </a:lnTo>
                    <a:lnTo>
                      <a:pt x="872" y="48"/>
                    </a:lnTo>
                    <a:lnTo>
                      <a:pt x="840" y="48"/>
                    </a:lnTo>
                    <a:lnTo>
                      <a:pt x="824" y="48"/>
                    </a:lnTo>
                    <a:lnTo>
                      <a:pt x="816" y="48"/>
                    </a:lnTo>
                    <a:lnTo>
                      <a:pt x="776" y="48"/>
                    </a:lnTo>
                    <a:lnTo>
                      <a:pt x="760" y="32"/>
                    </a:lnTo>
                    <a:lnTo>
                      <a:pt x="744" y="32"/>
                    </a:lnTo>
                    <a:lnTo>
                      <a:pt x="768" y="40"/>
                    </a:lnTo>
                    <a:lnTo>
                      <a:pt x="736" y="40"/>
                    </a:lnTo>
                    <a:lnTo>
                      <a:pt x="744" y="48"/>
                    </a:lnTo>
                    <a:lnTo>
                      <a:pt x="712" y="48"/>
                    </a:lnTo>
                    <a:lnTo>
                      <a:pt x="752" y="24"/>
                    </a:lnTo>
                    <a:lnTo>
                      <a:pt x="744" y="16"/>
                    </a:lnTo>
                    <a:lnTo>
                      <a:pt x="712" y="8"/>
                    </a:lnTo>
                    <a:lnTo>
                      <a:pt x="672" y="8"/>
                    </a:lnTo>
                    <a:lnTo>
                      <a:pt x="656" y="0"/>
                    </a:lnTo>
                    <a:lnTo>
                      <a:pt x="632" y="0"/>
                    </a:lnTo>
                    <a:lnTo>
                      <a:pt x="616" y="8"/>
                    </a:lnTo>
                    <a:lnTo>
                      <a:pt x="616" y="16"/>
                    </a:lnTo>
                    <a:lnTo>
                      <a:pt x="560" y="16"/>
                    </a:lnTo>
                    <a:lnTo>
                      <a:pt x="528" y="24"/>
                    </a:lnTo>
                    <a:lnTo>
                      <a:pt x="512" y="32"/>
                    </a:lnTo>
                    <a:lnTo>
                      <a:pt x="528" y="40"/>
                    </a:lnTo>
                    <a:lnTo>
                      <a:pt x="472" y="48"/>
                    </a:lnTo>
                    <a:lnTo>
                      <a:pt x="480" y="56"/>
                    </a:lnTo>
                    <a:lnTo>
                      <a:pt x="504" y="64"/>
                    </a:lnTo>
                    <a:lnTo>
                      <a:pt x="496" y="64"/>
                    </a:lnTo>
                    <a:lnTo>
                      <a:pt x="448" y="56"/>
                    </a:lnTo>
                    <a:lnTo>
                      <a:pt x="440" y="64"/>
                    </a:lnTo>
                    <a:lnTo>
                      <a:pt x="472" y="80"/>
                    </a:lnTo>
                    <a:lnTo>
                      <a:pt x="440" y="72"/>
                    </a:lnTo>
                    <a:lnTo>
                      <a:pt x="432" y="5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3" name="Freeform 153">
                <a:extLst>
                  <a:ext uri="{FF2B5EF4-FFF2-40B4-BE49-F238E27FC236}">
                    <a16:creationId xmlns:a16="http://schemas.microsoft.com/office/drawing/2014/main" id="{3B54B44C-F8E5-4596-9649-98CC0BFEC7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0" y="1944"/>
                <a:ext cx="224" cy="128"/>
              </a:xfrm>
              <a:custGeom>
                <a:avLst/>
                <a:gdLst>
                  <a:gd name="T0" fmla="*/ 152 w 224"/>
                  <a:gd name="T1" fmla="*/ 120 h 128"/>
                  <a:gd name="T2" fmla="*/ 168 w 224"/>
                  <a:gd name="T3" fmla="*/ 128 h 128"/>
                  <a:gd name="T4" fmla="*/ 176 w 224"/>
                  <a:gd name="T5" fmla="*/ 112 h 128"/>
                  <a:gd name="T6" fmla="*/ 168 w 224"/>
                  <a:gd name="T7" fmla="*/ 96 h 128"/>
                  <a:gd name="T8" fmla="*/ 160 w 224"/>
                  <a:gd name="T9" fmla="*/ 88 h 128"/>
                  <a:gd name="T10" fmla="*/ 176 w 224"/>
                  <a:gd name="T11" fmla="*/ 88 h 128"/>
                  <a:gd name="T12" fmla="*/ 176 w 224"/>
                  <a:gd name="T13" fmla="*/ 80 h 128"/>
                  <a:gd name="T14" fmla="*/ 176 w 224"/>
                  <a:gd name="T15" fmla="*/ 72 h 128"/>
                  <a:gd name="T16" fmla="*/ 192 w 224"/>
                  <a:gd name="T17" fmla="*/ 64 h 128"/>
                  <a:gd name="T18" fmla="*/ 192 w 224"/>
                  <a:gd name="T19" fmla="*/ 80 h 128"/>
                  <a:gd name="T20" fmla="*/ 200 w 224"/>
                  <a:gd name="T21" fmla="*/ 80 h 128"/>
                  <a:gd name="T22" fmla="*/ 208 w 224"/>
                  <a:gd name="T23" fmla="*/ 80 h 128"/>
                  <a:gd name="T24" fmla="*/ 224 w 224"/>
                  <a:gd name="T25" fmla="*/ 72 h 128"/>
                  <a:gd name="T26" fmla="*/ 200 w 224"/>
                  <a:gd name="T27" fmla="*/ 56 h 128"/>
                  <a:gd name="T28" fmla="*/ 200 w 224"/>
                  <a:gd name="T29" fmla="*/ 64 h 128"/>
                  <a:gd name="T30" fmla="*/ 184 w 224"/>
                  <a:gd name="T31" fmla="*/ 56 h 128"/>
                  <a:gd name="T32" fmla="*/ 192 w 224"/>
                  <a:gd name="T33" fmla="*/ 48 h 128"/>
                  <a:gd name="T34" fmla="*/ 168 w 224"/>
                  <a:gd name="T35" fmla="*/ 64 h 128"/>
                  <a:gd name="T36" fmla="*/ 144 w 224"/>
                  <a:gd name="T37" fmla="*/ 64 h 128"/>
                  <a:gd name="T38" fmla="*/ 144 w 224"/>
                  <a:gd name="T39" fmla="*/ 56 h 128"/>
                  <a:gd name="T40" fmla="*/ 136 w 224"/>
                  <a:gd name="T41" fmla="*/ 56 h 128"/>
                  <a:gd name="T42" fmla="*/ 128 w 224"/>
                  <a:gd name="T43" fmla="*/ 40 h 128"/>
                  <a:gd name="T44" fmla="*/ 112 w 224"/>
                  <a:gd name="T45" fmla="*/ 24 h 128"/>
                  <a:gd name="T46" fmla="*/ 80 w 224"/>
                  <a:gd name="T47" fmla="*/ 32 h 128"/>
                  <a:gd name="T48" fmla="*/ 32 w 224"/>
                  <a:gd name="T49" fmla="*/ 0 h 128"/>
                  <a:gd name="T50" fmla="*/ 0 w 224"/>
                  <a:gd name="T51" fmla="*/ 8 h 128"/>
                  <a:gd name="T52" fmla="*/ 16 w 224"/>
                  <a:gd name="T53" fmla="*/ 64 h 128"/>
                  <a:gd name="T54" fmla="*/ 24 w 224"/>
                  <a:gd name="T55" fmla="*/ 64 h 128"/>
                  <a:gd name="T56" fmla="*/ 24 w 224"/>
                  <a:gd name="T57" fmla="*/ 56 h 128"/>
                  <a:gd name="T58" fmla="*/ 32 w 224"/>
                  <a:gd name="T59" fmla="*/ 40 h 128"/>
                  <a:gd name="T60" fmla="*/ 40 w 224"/>
                  <a:gd name="T61" fmla="*/ 40 h 128"/>
                  <a:gd name="T62" fmla="*/ 56 w 224"/>
                  <a:gd name="T63" fmla="*/ 48 h 128"/>
                  <a:gd name="T64" fmla="*/ 64 w 224"/>
                  <a:gd name="T65" fmla="*/ 64 h 128"/>
                  <a:gd name="T66" fmla="*/ 88 w 224"/>
                  <a:gd name="T67" fmla="*/ 64 h 128"/>
                  <a:gd name="T68" fmla="*/ 96 w 224"/>
                  <a:gd name="T69" fmla="*/ 80 h 128"/>
                  <a:gd name="T70" fmla="*/ 136 w 224"/>
                  <a:gd name="T71" fmla="*/ 104 h 128"/>
                  <a:gd name="T72" fmla="*/ 152 w 224"/>
                  <a:gd name="T73" fmla="*/ 112 h 128"/>
                  <a:gd name="T74" fmla="*/ 152 w 224"/>
                  <a:gd name="T75" fmla="*/ 120 h 12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24"/>
                  <a:gd name="T115" fmla="*/ 0 h 128"/>
                  <a:gd name="T116" fmla="*/ 224 w 224"/>
                  <a:gd name="T117" fmla="*/ 128 h 12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24" h="128">
                    <a:moveTo>
                      <a:pt x="152" y="120"/>
                    </a:moveTo>
                    <a:lnTo>
                      <a:pt x="168" y="128"/>
                    </a:lnTo>
                    <a:lnTo>
                      <a:pt x="176" y="112"/>
                    </a:lnTo>
                    <a:lnTo>
                      <a:pt x="168" y="96"/>
                    </a:lnTo>
                    <a:lnTo>
                      <a:pt x="160" y="88"/>
                    </a:lnTo>
                    <a:lnTo>
                      <a:pt x="176" y="88"/>
                    </a:lnTo>
                    <a:lnTo>
                      <a:pt x="176" y="80"/>
                    </a:lnTo>
                    <a:lnTo>
                      <a:pt x="176" y="72"/>
                    </a:lnTo>
                    <a:lnTo>
                      <a:pt x="192" y="64"/>
                    </a:lnTo>
                    <a:lnTo>
                      <a:pt x="192" y="80"/>
                    </a:lnTo>
                    <a:lnTo>
                      <a:pt x="200" y="80"/>
                    </a:lnTo>
                    <a:lnTo>
                      <a:pt x="208" y="80"/>
                    </a:lnTo>
                    <a:lnTo>
                      <a:pt x="224" y="72"/>
                    </a:lnTo>
                    <a:lnTo>
                      <a:pt x="200" y="56"/>
                    </a:lnTo>
                    <a:lnTo>
                      <a:pt x="200" y="64"/>
                    </a:lnTo>
                    <a:lnTo>
                      <a:pt x="184" y="56"/>
                    </a:lnTo>
                    <a:lnTo>
                      <a:pt x="192" y="48"/>
                    </a:lnTo>
                    <a:lnTo>
                      <a:pt x="168" y="64"/>
                    </a:lnTo>
                    <a:lnTo>
                      <a:pt x="144" y="64"/>
                    </a:lnTo>
                    <a:lnTo>
                      <a:pt x="144" y="56"/>
                    </a:lnTo>
                    <a:lnTo>
                      <a:pt x="136" y="56"/>
                    </a:lnTo>
                    <a:lnTo>
                      <a:pt x="128" y="40"/>
                    </a:lnTo>
                    <a:lnTo>
                      <a:pt x="112" y="24"/>
                    </a:lnTo>
                    <a:lnTo>
                      <a:pt x="80" y="32"/>
                    </a:lnTo>
                    <a:lnTo>
                      <a:pt x="32" y="0"/>
                    </a:lnTo>
                    <a:lnTo>
                      <a:pt x="0" y="8"/>
                    </a:lnTo>
                    <a:lnTo>
                      <a:pt x="16" y="64"/>
                    </a:lnTo>
                    <a:lnTo>
                      <a:pt x="24" y="64"/>
                    </a:lnTo>
                    <a:lnTo>
                      <a:pt x="24" y="56"/>
                    </a:lnTo>
                    <a:lnTo>
                      <a:pt x="32" y="40"/>
                    </a:lnTo>
                    <a:lnTo>
                      <a:pt x="40" y="40"/>
                    </a:lnTo>
                    <a:lnTo>
                      <a:pt x="56" y="48"/>
                    </a:lnTo>
                    <a:lnTo>
                      <a:pt x="64" y="64"/>
                    </a:lnTo>
                    <a:lnTo>
                      <a:pt x="88" y="64"/>
                    </a:lnTo>
                    <a:lnTo>
                      <a:pt x="96" y="80"/>
                    </a:lnTo>
                    <a:lnTo>
                      <a:pt x="136" y="104"/>
                    </a:lnTo>
                    <a:lnTo>
                      <a:pt x="152" y="112"/>
                    </a:lnTo>
                    <a:lnTo>
                      <a:pt x="152" y="12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4" name="Freeform 154">
                <a:extLst>
                  <a:ext uri="{FF2B5EF4-FFF2-40B4-BE49-F238E27FC236}">
                    <a16:creationId xmlns:a16="http://schemas.microsoft.com/office/drawing/2014/main" id="{0C876229-D33C-42A9-9726-E60F89F4A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0" y="2008"/>
                <a:ext cx="96" cy="64"/>
              </a:xfrm>
              <a:custGeom>
                <a:avLst/>
                <a:gdLst>
                  <a:gd name="T0" fmla="*/ 16 w 96"/>
                  <a:gd name="T1" fmla="*/ 64 h 64"/>
                  <a:gd name="T2" fmla="*/ 32 w 96"/>
                  <a:gd name="T3" fmla="*/ 56 h 64"/>
                  <a:gd name="T4" fmla="*/ 40 w 96"/>
                  <a:gd name="T5" fmla="*/ 56 h 64"/>
                  <a:gd name="T6" fmla="*/ 48 w 96"/>
                  <a:gd name="T7" fmla="*/ 40 h 64"/>
                  <a:gd name="T8" fmla="*/ 56 w 96"/>
                  <a:gd name="T9" fmla="*/ 48 h 64"/>
                  <a:gd name="T10" fmla="*/ 64 w 96"/>
                  <a:gd name="T11" fmla="*/ 64 h 64"/>
                  <a:gd name="T12" fmla="*/ 80 w 96"/>
                  <a:gd name="T13" fmla="*/ 56 h 64"/>
                  <a:gd name="T14" fmla="*/ 96 w 96"/>
                  <a:gd name="T15" fmla="*/ 56 h 64"/>
                  <a:gd name="T16" fmla="*/ 96 w 96"/>
                  <a:gd name="T17" fmla="*/ 40 h 64"/>
                  <a:gd name="T18" fmla="*/ 88 w 96"/>
                  <a:gd name="T19" fmla="*/ 40 h 64"/>
                  <a:gd name="T20" fmla="*/ 80 w 96"/>
                  <a:gd name="T21" fmla="*/ 32 h 64"/>
                  <a:gd name="T22" fmla="*/ 80 w 96"/>
                  <a:gd name="T23" fmla="*/ 24 h 64"/>
                  <a:gd name="T24" fmla="*/ 56 w 96"/>
                  <a:gd name="T25" fmla="*/ 32 h 64"/>
                  <a:gd name="T26" fmla="*/ 48 w 96"/>
                  <a:gd name="T27" fmla="*/ 24 h 64"/>
                  <a:gd name="T28" fmla="*/ 24 w 96"/>
                  <a:gd name="T29" fmla="*/ 24 h 64"/>
                  <a:gd name="T30" fmla="*/ 24 w 96"/>
                  <a:gd name="T31" fmla="*/ 16 h 64"/>
                  <a:gd name="T32" fmla="*/ 32 w 96"/>
                  <a:gd name="T33" fmla="*/ 16 h 64"/>
                  <a:gd name="T34" fmla="*/ 40 w 96"/>
                  <a:gd name="T35" fmla="*/ 16 h 64"/>
                  <a:gd name="T36" fmla="*/ 32 w 96"/>
                  <a:gd name="T37" fmla="*/ 16 h 64"/>
                  <a:gd name="T38" fmla="*/ 32 w 96"/>
                  <a:gd name="T39" fmla="*/ 0 h 64"/>
                  <a:gd name="T40" fmla="*/ 16 w 96"/>
                  <a:gd name="T41" fmla="*/ 8 h 64"/>
                  <a:gd name="T42" fmla="*/ 16 w 96"/>
                  <a:gd name="T43" fmla="*/ 16 h 64"/>
                  <a:gd name="T44" fmla="*/ 16 w 96"/>
                  <a:gd name="T45" fmla="*/ 24 h 64"/>
                  <a:gd name="T46" fmla="*/ 0 w 96"/>
                  <a:gd name="T47" fmla="*/ 24 h 64"/>
                  <a:gd name="T48" fmla="*/ 8 w 96"/>
                  <a:gd name="T49" fmla="*/ 32 h 64"/>
                  <a:gd name="T50" fmla="*/ 16 w 96"/>
                  <a:gd name="T51" fmla="*/ 48 h 64"/>
                  <a:gd name="T52" fmla="*/ 8 w 96"/>
                  <a:gd name="T53" fmla="*/ 64 h 64"/>
                  <a:gd name="T54" fmla="*/ 16 w 96"/>
                  <a:gd name="T55" fmla="*/ 64 h 6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96"/>
                  <a:gd name="T85" fmla="*/ 0 h 64"/>
                  <a:gd name="T86" fmla="*/ 96 w 96"/>
                  <a:gd name="T87" fmla="*/ 64 h 6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96" h="64">
                    <a:moveTo>
                      <a:pt x="16" y="64"/>
                    </a:moveTo>
                    <a:lnTo>
                      <a:pt x="32" y="56"/>
                    </a:lnTo>
                    <a:lnTo>
                      <a:pt x="40" y="56"/>
                    </a:lnTo>
                    <a:lnTo>
                      <a:pt x="48" y="40"/>
                    </a:lnTo>
                    <a:lnTo>
                      <a:pt x="56" y="48"/>
                    </a:lnTo>
                    <a:lnTo>
                      <a:pt x="64" y="64"/>
                    </a:lnTo>
                    <a:lnTo>
                      <a:pt x="80" y="56"/>
                    </a:lnTo>
                    <a:lnTo>
                      <a:pt x="96" y="56"/>
                    </a:lnTo>
                    <a:lnTo>
                      <a:pt x="96" y="40"/>
                    </a:lnTo>
                    <a:lnTo>
                      <a:pt x="88" y="40"/>
                    </a:lnTo>
                    <a:lnTo>
                      <a:pt x="80" y="32"/>
                    </a:lnTo>
                    <a:lnTo>
                      <a:pt x="80" y="24"/>
                    </a:lnTo>
                    <a:lnTo>
                      <a:pt x="56" y="32"/>
                    </a:lnTo>
                    <a:lnTo>
                      <a:pt x="48" y="24"/>
                    </a:lnTo>
                    <a:lnTo>
                      <a:pt x="24" y="24"/>
                    </a:lnTo>
                    <a:lnTo>
                      <a:pt x="24" y="16"/>
                    </a:lnTo>
                    <a:lnTo>
                      <a:pt x="32" y="16"/>
                    </a:lnTo>
                    <a:lnTo>
                      <a:pt x="40" y="16"/>
                    </a:lnTo>
                    <a:lnTo>
                      <a:pt x="32" y="16"/>
                    </a:lnTo>
                    <a:lnTo>
                      <a:pt x="32" y="0"/>
                    </a:lnTo>
                    <a:lnTo>
                      <a:pt x="16" y="8"/>
                    </a:lnTo>
                    <a:lnTo>
                      <a:pt x="16" y="16"/>
                    </a:lnTo>
                    <a:lnTo>
                      <a:pt x="16" y="24"/>
                    </a:lnTo>
                    <a:lnTo>
                      <a:pt x="0" y="24"/>
                    </a:lnTo>
                    <a:lnTo>
                      <a:pt x="8" y="32"/>
                    </a:lnTo>
                    <a:lnTo>
                      <a:pt x="16" y="48"/>
                    </a:lnTo>
                    <a:lnTo>
                      <a:pt x="8" y="64"/>
                    </a:lnTo>
                    <a:lnTo>
                      <a:pt x="16" y="6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5" name="Freeform 155">
                <a:extLst>
                  <a:ext uri="{FF2B5EF4-FFF2-40B4-BE49-F238E27FC236}">
                    <a16:creationId xmlns:a16="http://schemas.microsoft.com/office/drawing/2014/main" id="{99BE65E7-B541-47D2-A8BC-857242E17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976"/>
                <a:ext cx="120" cy="64"/>
              </a:xfrm>
              <a:custGeom>
                <a:avLst/>
                <a:gdLst>
                  <a:gd name="T0" fmla="*/ 16 w 120"/>
                  <a:gd name="T1" fmla="*/ 48 h 64"/>
                  <a:gd name="T2" fmla="*/ 8 w 120"/>
                  <a:gd name="T3" fmla="*/ 48 h 64"/>
                  <a:gd name="T4" fmla="*/ 0 w 120"/>
                  <a:gd name="T5" fmla="*/ 48 h 64"/>
                  <a:gd name="T6" fmla="*/ 0 w 120"/>
                  <a:gd name="T7" fmla="*/ 56 h 64"/>
                  <a:gd name="T8" fmla="*/ 24 w 120"/>
                  <a:gd name="T9" fmla="*/ 56 h 64"/>
                  <a:gd name="T10" fmla="*/ 32 w 120"/>
                  <a:gd name="T11" fmla="*/ 64 h 64"/>
                  <a:gd name="T12" fmla="*/ 56 w 120"/>
                  <a:gd name="T13" fmla="*/ 56 h 64"/>
                  <a:gd name="T14" fmla="*/ 56 w 120"/>
                  <a:gd name="T15" fmla="*/ 48 h 64"/>
                  <a:gd name="T16" fmla="*/ 64 w 120"/>
                  <a:gd name="T17" fmla="*/ 40 h 64"/>
                  <a:gd name="T18" fmla="*/ 88 w 120"/>
                  <a:gd name="T19" fmla="*/ 40 h 64"/>
                  <a:gd name="T20" fmla="*/ 88 w 120"/>
                  <a:gd name="T21" fmla="*/ 32 h 64"/>
                  <a:gd name="T22" fmla="*/ 104 w 120"/>
                  <a:gd name="T23" fmla="*/ 32 h 64"/>
                  <a:gd name="T24" fmla="*/ 120 w 120"/>
                  <a:gd name="T25" fmla="*/ 24 h 64"/>
                  <a:gd name="T26" fmla="*/ 120 w 120"/>
                  <a:gd name="T27" fmla="*/ 16 h 64"/>
                  <a:gd name="T28" fmla="*/ 104 w 120"/>
                  <a:gd name="T29" fmla="*/ 8 h 64"/>
                  <a:gd name="T30" fmla="*/ 56 w 120"/>
                  <a:gd name="T31" fmla="*/ 8 h 64"/>
                  <a:gd name="T32" fmla="*/ 40 w 120"/>
                  <a:gd name="T33" fmla="*/ 0 h 64"/>
                  <a:gd name="T34" fmla="*/ 40 w 120"/>
                  <a:gd name="T35" fmla="*/ 8 h 64"/>
                  <a:gd name="T36" fmla="*/ 32 w 120"/>
                  <a:gd name="T37" fmla="*/ 16 h 64"/>
                  <a:gd name="T38" fmla="*/ 8 w 120"/>
                  <a:gd name="T39" fmla="*/ 8 h 64"/>
                  <a:gd name="T40" fmla="*/ 8 w 120"/>
                  <a:gd name="T41" fmla="*/ 16 h 64"/>
                  <a:gd name="T42" fmla="*/ 0 w 120"/>
                  <a:gd name="T43" fmla="*/ 24 h 64"/>
                  <a:gd name="T44" fmla="*/ 16 w 120"/>
                  <a:gd name="T45" fmla="*/ 32 h 64"/>
                  <a:gd name="T46" fmla="*/ 16 w 120"/>
                  <a:gd name="T47" fmla="*/ 24 h 64"/>
                  <a:gd name="T48" fmla="*/ 40 w 120"/>
                  <a:gd name="T49" fmla="*/ 40 h 64"/>
                  <a:gd name="T50" fmla="*/ 24 w 120"/>
                  <a:gd name="T51" fmla="*/ 48 h 64"/>
                  <a:gd name="T52" fmla="*/ 16 w 120"/>
                  <a:gd name="T53" fmla="*/ 48 h 6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20"/>
                  <a:gd name="T82" fmla="*/ 0 h 64"/>
                  <a:gd name="T83" fmla="*/ 120 w 120"/>
                  <a:gd name="T84" fmla="*/ 64 h 6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20" h="64">
                    <a:moveTo>
                      <a:pt x="16" y="48"/>
                    </a:moveTo>
                    <a:lnTo>
                      <a:pt x="8" y="48"/>
                    </a:lnTo>
                    <a:lnTo>
                      <a:pt x="0" y="48"/>
                    </a:lnTo>
                    <a:lnTo>
                      <a:pt x="0" y="56"/>
                    </a:lnTo>
                    <a:lnTo>
                      <a:pt x="24" y="56"/>
                    </a:lnTo>
                    <a:lnTo>
                      <a:pt x="32" y="64"/>
                    </a:lnTo>
                    <a:lnTo>
                      <a:pt x="56" y="56"/>
                    </a:lnTo>
                    <a:lnTo>
                      <a:pt x="56" y="48"/>
                    </a:lnTo>
                    <a:lnTo>
                      <a:pt x="64" y="40"/>
                    </a:lnTo>
                    <a:lnTo>
                      <a:pt x="88" y="40"/>
                    </a:lnTo>
                    <a:lnTo>
                      <a:pt x="88" y="32"/>
                    </a:lnTo>
                    <a:lnTo>
                      <a:pt x="104" y="32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04" y="8"/>
                    </a:lnTo>
                    <a:lnTo>
                      <a:pt x="56" y="8"/>
                    </a:lnTo>
                    <a:lnTo>
                      <a:pt x="40" y="0"/>
                    </a:lnTo>
                    <a:lnTo>
                      <a:pt x="40" y="8"/>
                    </a:lnTo>
                    <a:lnTo>
                      <a:pt x="32" y="16"/>
                    </a:lnTo>
                    <a:lnTo>
                      <a:pt x="8" y="8"/>
                    </a:lnTo>
                    <a:lnTo>
                      <a:pt x="8" y="16"/>
                    </a:lnTo>
                    <a:lnTo>
                      <a:pt x="0" y="24"/>
                    </a:lnTo>
                    <a:lnTo>
                      <a:pt x="16" y="32"/>
                    </a:lnTo>
                    <a:lnTo>
                      <a:pt x="16" y="24"/>
                    </a:lnTo>
                    <a:lnTo>
                      <a:pt x="40" y="40"/>
                    </a:lnTo>
                    <a:lnTo>
                      <a:pt x="24" y="48"/>
                    </a:lnTo>
                    <a:lnTo>
                      <a:pt x="16" y="4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6" name="Freeform 156">
                <a:extLst>
                  <a:ext uri="{FF2B5EF4-FFF2-40B4-BE49-F238E27FC236}">
                    <a16:creationId xmlns:a16="http://schemas.microsoft.com/office/drawing/2014/main" id="{7D51247F-49F0-4A02-B629-4778F730D1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1984"/>
                <a:ext cx="184" cy="112"/>
              </a:xfrm>
              <a:custGeom>
                <a:avLst/>
                <a:gdLst>
                  <a:gd name="T0" fmla="*/ 48 w 184"/>
                  <a:gd name="T1" fmla="*/ 24 h 112"/>
                  <a:gd name="T2" fmla="*/ 56 w 184"/>
                  <a:gd name="T3" fmla="*/ 24 h 112"/>
                  <a:gd name="T4" fmla="*/ 56 w 184"/>
                  <a:gd name="T5" fmla="*/ 16 h 112"/>
                  <a:gd name="T6" fmla="*/ 64 w 184"/>
                  <a:gd name="T7" fmla="*/ 0 h 112"/>
                  <a:gd name="T8" fmla="*/ 72 w 184"/>
                  <a:gd name="T9" fmla="*/ 0 h 112"/>
                  <a:gd name="T10" fmla="*/ 88 w 184"/>
                  <a:gd name="T11" fmla="*/ 8 h 112"/>
                  <a:gd name="T12" fmla="*/ 96 w 184"/>
                  <a:gd name="T13" fmla="*/ 24 h 112"/>
                  <a:gd name="T14" fmla="*/ 120 w 184"/>
                  <a:gd name="T15" fmla="*/ 24 h 112"/>
                  <a:gd name="T16" fmla="*/ 128 w 184"/>
                  <a:gd name="T17" fmla="*/ 40 h 112"/>
                  <a:gd name="T18" fmla="*/ 168 w 184"/>
                  <a:gd name="T19" fmla="*/ 64 h 112"/>
                  <a:gd name="T20" fmla="*/ 184 w 184"/>
                  <a:gd name="T21" fmla="*/ 72 h 112"/>
                  <a:gd name="T22" fmla="*/ 184 w 184"/>
                  <a:gd name="T23" fmla="*/ 80 h 112"/>
                  <a:gd name="T24" fmla="*/ 176 w 184"/>
                  <a:gd name="T25" fmla="*/ 80 h 112"/>
                  <a:gd name="T26" fmla="*/ 168 w 184"/>
                  <a:gd name="T27" fmla="*/ 80 h 112"/>
                  <a:gd name="T28" fmla="*/ 168 w 184"/>
                  <a:gd name="T29" fmla="*/ 96 h 112"/>
                  <a:gd name="T30" fmla="*/ 152 w 184"/>
                  <a:gd name="T31" fmla="*/ 104 h 112"/>
                  <a:gd name="T32" fmla="*/ 144 w 184"/>
                  <a:gd name="T33" fmla="*/ 112 h 112"/>
                  <a:gd name="T34" fmla="*/ 128 w 184"/>
                  <a:gd name="T35" fmla="*/ 104 h 112"/>
                  <a:gd name="T36" fmla="*/ 128 w 184"/>
                  <a:gd name="T37" fmla="*/ 96 h 112"/>
                  <a:gd name="T38" fmla="*/ 64 w 184"/>
                  <a:gd name="T39" fmla="*/ 64 h 112"/>
                  <a:gd name="T40" fmla="*/ 48 w 184"/>
                  <a:gd name="T41" fmla="*/ 72 h 112"/>
                  <a:gd name="T42" fmla="*/ 32 w 184"/>
                  <a:gd name="T43" fmla="*/ 80 h 112"/>
                  <a:gd name="T44" fmla="*/ 24 w 184"/>
                  <a:gd name="T45" fmla="*/ 56 h 112"/>
                  <a:gd name="T46" fmla="*/ 16 w 184"/>
                  <a:gd name="T47" fmla="*/ 40 h 112"/>
                  <a:gd name="T48" fmla="*/ 8 w 184"/>
                  <a:gd name="T49" fmla="*/ 40 h 112"/>
                  <a:gd name="T50" fmla="*/ 8 w 184"/>
                  <a:gd name="T51" fmla="*/ 32 h 112"/>
                  <a:gd name="T52" fmla="*/ 24 w 184"/>
                  <a:gd name="T53" fmla="*/ 32 h 112"/>
                  <a:gd name="T54" fmla="*/ 32 w 184"/>
                  <a:gd name="T55" fmla="*/ 24 h 112"/>
                  <a:gd name="T56" fmla="*/ 16 w 184"/>
                  <a:gd name="T57" fmla="*/ 8 h 112"/>
                  <a:gd name="T58" fmla="*/ 8 w 184"/>
                  <a:gd name="T59" fmla="*/ 8 h 112"/>
                  <a:gd name="T60" fmla="*/ 8 w 184"/>
                  <a:gd name="T61" fmla="*/ 24 h 112"/>
                  <a:gd name="T62" fmla="*/ 0 w 184"/>
                  <a:gd name="T63" fmla="*/ 16 h 112"/>
                  <a:gd name="T64" fmla="*/ 8 w 184"/>
                  <a:gd name="T65" fmla="*/ 8 h 112"/>
                  <a:gd name="T66" fmla="*/ 16 w 184"/>
                  <a:gd name="T67" fmla="*/ 8 h 112"/>
                  <a:gd name="T68" fmla="*/ 40 w 184"/>
                  <a:gd name="T69" fmla="*/ 24 h 112"/>
                  <a:gd name="T70" fmla="*/ 48 w 184"/>
                  <a:gd name="T71" fmla="*/ 24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84"/>
                  <a:gd name="T109" fmla="*/ 0 h 112"/>
                  <a:gd name="T110" fmla="*/ 184 w 184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84" h="112">
                    <a:moveTo>
                      <a:pt x="48" y="24"/>
                    </a:moveTo>
                    <a:lnTo>
                      <a:pt x="56" y="24"/>
                    </a:lnTo>
                    <a:lnTo>
                      <a:pt x="56" y="16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8" y="8"/>
                    </a:lnTo>
                    <a:lnTo>
                      <a:pt x="96" y="24"/>
                    </a:lnTo>
                    <a:lnTo>
                      <a:pt x="120" y="24"/>
                    </a:lnTo>
                    <a:lnTo>
                      <a:pt x="128" y="40"/>
                    </a:lnTo>
                    <a:lnTo>
                      <a:pt x="168" y="64"/>
                    </a:lnTo>
                    <a:lnTo>
                      <a:pt x="184" y="72"/>
                    </a:lnTo>
                    <a:lnTo>
                      <a:pt x="184" y="80"/>
                    </a:lnTo>
                    <a:lnTo>
                      <a:pt x="176" y="80"/>
                    </a:lnTo>
                    <a:lnTo>
                      <a:pt x="168" y="80"/>
                    </a:lnTo>
                    <a:lnTo>
                      <a:pt x="168" y="96"/>
                    </a:lnTo>
                    <a:lnTo>
                      <a:pt x="152" y="104"/>
                    </a:lnTo>
                    <a:lnTo>
                      <a:pt x="144" y="112"/>
                    </a:lnTo>
                    <a:lnTo>
                      <a:pt x="128" y="104"/>
                    </a:lnTo>
                    <a:lnTo>
                      <a:pt x="128" y="96"/>
                    </a:lnTo>
                    <a:lnTo>
                      <a:pt x="64" y="64"/>
                    </a:lnTo>
                    <a:lnTo>
                      <a:pt x="48" y="72"/>
                    </a:lnTo>
                    <a:lnTo>
                      <a:pt x="32" y="80"/>
                    </a:lnTo>
                    <a:lnTo>
                      <a:pt x="24" y="56"/>
                    </a:lnTo>
                    <a:lnTo>
                      <a:pt x="16" y="40"/>
                    </a:lnTo>
                    <a:lnTo>
                      <a:pt x="8" y="40"/>
                    </a:lnTo>
                    <a:lnTo>
                      <a:pt x="8" y="32"/>
                    </a:lnTo>
                    <a:lnTo>
                      <a:pt x="24" y="32"/>
                    </a:lnTo>
                    <a:lnTo>
                      <a:pt x="32" y="24"/>
                    </a:lnTo>
                    <a:lnTo>
                      <a:pt x="16" y="8"/>
                    </a:lnTo>
                    <a:lnTo>
                      <a:pt x="8" y="8"/>
                    </a:lnTo>
                    <a:lnTo>
                      <a:pt x="8" y="24"/>
                    </a:lnTo>
                    <a:lnTo>
                      <a:pt x="0" y="16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40" y="24"/>
                    </a:lnTo>
                    <a:lnTo>
                      <a:pt x="48" y="2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7" name="Freeform 157">
                <a:extLst>
                  <a:ext uri="{FF2B5EF4-FFF2-40B4-BE49-F238E27FC236}">
                    <a16:creationId xmlns:a16="http://schemas.microsoft.com/office/drawing/2014/main" id="{84381AAA-AC1A-473A-9FAF-29F89AA67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0" y="1784"/>
                <a:ext cx="104" cy="72"/>
              </a:xfrm>
              <a:custGeom>
                <a:avLst/>
                <a:gdLst>
                  <a:gd name="T0" fmla="*/ 8 w 104"/>
                  <a:gd name="T1" fmla="*/ 48 h 72"/>
                  <a:gd name="T2" fmla="*/ 0 w 104"/>
                  <a:gd name="T3" fmla="*/ 64 h 72"/>
                  <a:gd name="T4" fmla="*/ 8 w 104"/>
                  <a:gd name="T5" fmla="*/ 72 h 72"/>
                  <a:gd name="T6" fmla="*/ 32 w 104"/>
                  <a:gd name="T7" fmla="*/ 64 h 72"/>
                  <a:gd name="T8" fmla="*/ 56 w 104"/>
                  <a:gd name="T9" fmla="*/ 72 h 72"/>
                  <a:gd name="T10" fmla="*/ 72 w 104"/>
                  <a:gd name="T11" fmla="*/ 72 h 72"/>
                  <a:gd name="T12" fmla="*/ 88 w 104"/>
                  <a:gd name="T13" fmla="*/ 72 h 72"/>
                  <a:gd name="T14" fmla="*/ 88 w 104"/>
                  <a:gd name="T15" fmla="*/ 64 h 72"/>
                  <a:gd name="T16" fmla="*/ 96 w 104"/>
                  <a:gd name="T17" fmla="*/ 64 h 72"/>
                  <a:gd name="T18" fmla="*/ 88 w 104"/>
                  <a:gd name="T19" fmla="*/ 48 h 72"/>
                  <a:gd name="T20" fmla="*/ 104 w 104"/>
                  <a:gd name="T21" fmla="*/ 48 h 72"/>
                  <a:gd name="T22" fmla="*/ 104 w 104"/>
                  <a:gd name="T23" fmla="*/ 40 h 72"/>
                  <a:gd name="T24" fmla="*/ 96 w 104"/>
                  <a:gd name="T25" fmla="*/ 40 h 72"/>
                  <a:gd name="T26" fmla="*/ 88 w 104"/>
                  <a:gd name="T27" fmla="*/ 24 h 72"/>
                  <a:gd name="T28" fmla="*/ 80 w 104"/>
                  <a:gd name="T29" fmla="*/ 8 h 72"/>
                  <a:gd name="T30" fmla="*/ 56 w 104"/>
                  <a:gd name="T31" fmla="*/ 0 h 72"/>
                  <a:gd name="T32" fmla="*/ 40 w 104"/>
                  <a:gd name="T33" fmla="*/ 8 h 72"/>
                  <a:gd name="T34" fmla="*/ 40 w 104"/>
                  <a:gd name="T35" fmla="*/ 16 h 72"/>
                  <a:gd name="T36" fmla="*/ 24 w 104"/>
                  <a:gd name="T37" fmla="*/ 24 h 72"/>
                  <a:gd name="T38" fmla="*/ 32 w 104"/>
                  <a:gd name="T39" fmla="*/ 32 h 72"/>
                  <a:gd name="T40" fmla="*/ 0 w 104"/>
                  <a:gd name="T41" fmla="*/ 32 h 72"/>
                  <a:gd name="T42" fmla="*/ 8 w 104"/>
                  <a:gd name="T43" fmla="*/ 48 h 7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04"/>
                  <a:gd name="T67" fmla="*/ 0 h 72"/>
                  <a:gd name="T68" fmla="*/ 104 w 104"/>
                  <a:gd name="T69" fmla="*/ 72 h 7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04" h="72">
                    <a:moveTo>
                      <a:pt x="8" y="48"/>
                    </a:moveTo>
                    <a:lnTo>
                      <a:pt x="0" y="64"/>
                    </a:lnTo>
                    <a:lnTo>
                      <a:pt x="8" y="72"/>
                    </a:lnTo>
                    <a:lnTo>
                      <a:pt x="32" y="64"/>
                    </a:lnTo>
                    <a:lnTo>
                      <a:pt x="56" y="72"/>
                    </a:lnTo>
                    <a:lnTo>
                      <a:pt x="72" y="72"/>
                    </a:lnTo>
                    <a:lnTo>
                      <a:pt x="88" y="72"/>
                    </a:lnTo>
                    <a:lnTo>
                      <a:pt x="88" y="64"/>
                    </a:lnTo>
                    <a:lnTo>
                      <a:pt x="96" y="64"/>
                    </a:lnTo>
                    <a:lnTo>
                      <a:pt x="88" y="48"/>
                    </a:lnTo>
                    <a:lnTo>
                      <a:pt x="104" y="48"/>
                    </a:lnTo>
                    <a:lnTo>
                      <a:pt x="104" y="40"/>
                    </a:lnTo>
                    <a:lnTo>
                      <a:pt x="96" y="40"/>
                    </a:lnTo>
                    <a:lnTo>
                      <a:pt x="88" y="24"/>
                    </a:lnTo>
                    <a:lnTo>
                      <a:pt x="80" y="8"/>
                    </a:lnTo>
                    <a:lnTo>
                      <a:pt x="56" y="0"/>
                    </a:lnTo>
                    <a:lnTo>
                      <a:pt x="40" y="8"/>
                    </a:lnTo>
                    <a:lnTo>
                      <a:pt x="40" y="16"/>
                    </a:lnTo>
                    <a:lnTo>
                      <a:pt x="24" y="24"/>
                    </a:lnTo>
                    <a:lnTo>
                      <a:pt x="32" y="32"/>
                    </a:lnTo>
                    <a:lnTo>
                      <a:pt x="0" y="32"/>
                    </a:lnTo>
                    <a:lnTo>
                      <a:pt x="8" y="4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8" name="Freeform 158">
                <a:extLst>
                  <a:ext uri="{FF2B5EF4-FFF2-40B4-BE49-F238E27FC236}">
                    <a16:creationId xmlns:a16="http://schemas.microsoft.com/office/drawing/2014/main" id="{59F3036E-3300-474D-A8F8-8258BD3EB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0" y="1736"/>
                <a:ext cx="48" cy="32"/>
              </a:xfrm>
              <a:custGeom>
                <a:avLst/>
                <a:gdLst>
                  <a:gd name="T0" fmla="*/ 8 w 48"/>
                  <a:gd name="T1" fmla="*/ 24 h 32"/>
                  <a:gd name="T2" fmla="*/ 0 w 48"/>
                  <a:gd name="T3" fmla="*/ 24 h 32"/>
                  <a:gd name="T4" fmla="*/ 0 w 48"/>
                  <a:gd name="T5" fmla="*/ 8 h 32"/>
                  <a:gd name="T6" fmla="*/ 24 w 48"/>
                  <a:gd name="T7" fmla="*/ 0 h 32"/>
                  <a:gd name="T8" fmla="*/ 48 w 48"/>
                  <a:gd name="T9" fmla="*/ 8 h 32"/>
                  <a:gd name="T10" fmla="*/ 40 w 48"/>
                  <a:gd name="T11" fmla="*/ 8 h 32"/>
                  <a:gd name="T12" fmla="*/ 32 w 48"/>
                  <a:gd name="T13" fmla="*/ 16 h 32"/>
                  <a:gd name="T14" fmla="*/ 40 w 48"/>
                  <a:gd name="T15" fmla="*/ 24 h 32"/>
                  <a:gd name="T16" fmla="*/ 40 w 48"/>
                  <a:gd name="T17" fmla="*/ 32 h 32"/>
                  <a:gd name="T18" fmla="*/ 16 w 48"/>
                  <a:gd name="T19" fmla="*/ 24 h 32"/>
                  <a:gd name="T20" fmla="*/ 8 w 48"/>
                  <a:gd name="T21" fmla="*/ 24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8"/>
                  <a:gd name="T34" fmla="*/ 0 h 32"/>
                  <a:gd name="T35" fmla="*/ 48 w 48"/>
                  <a:gd name="T36" fmla="*/ 32 h 3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8" h="32">
                    <a:moveTo>
                      <a:pt x="8" y="24"/>
                    </a:moveTo>
                    <a:lnTo>
                      <a:pt x="0" y="24"/>
                    </a:lnTo>
                    <a:lnTo>
                      <a:pt x="0" y="8"/>
                    </a:lnTo>
                    <a:lnTo>
                      <a:pt x="24" y="0"/>
                    </a:lnTo>
                    <a:lnTo>
                      <a:pt x="48" y="8"/>
                    </a:lnTo>
                    <a:lnTo>
                      <a:pt x="40" y="8"/>
                    </a:lnTo>
                    <a:lnTo>
                      <a:pt x="32" y="16"/>
                    </a:lnTo>
                    <a:lnTo>
                      <a:pt x="40" y="24"/>
                    </a:lnTo>
                    <a:lnTo>
                      <a:pt x="40" y="32"/>
                    </a:lnTo>
                    <a:lnTo>
                      <a:pt x="16" y="24"/>
                    </a:lnTo>
                    <a:lnTo>
                      <a:pt x="8" y="2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9" name="Freeform 159">
                <a:extLst>
                  <a:ext uri="{FF2B5EF4-FFF2-40B4-BE49-F238E27FC236}">
                    <a16:creationId xmlns:a16="http://schemas.microsoft.com/office/drawing/2014/main" id="{489600B9-0A17-4EF9-8DD5-2C02EA9925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6" y="1760"/>
                <a:ext cx="80" cy="32"/>
              </a:xfrm>
              <a:custGeom>
                <a:avLst/>
                <a:gdLst>
                  <a:gd name="T0" fmla="*/ 0 w 80"/>
                  <a:gd name="T1" fmla="*/ 32 h 32"/>
                  <a:gd name="T2" fmla="*/ 0 w 80"/>
                  <a:gd name="T3" fmla="*/ 16 h 32"/>
                  <a:gd name="T4" fmla="*/ 0 w 80"/>
                  <a:gd name="T5" fmla="*/ 8 h 32"/>
                  <a:gd name="T6" fmla="*/ 8 w 80"/>
                  <a:gd name="T7" fmla="*/ 8 h 32"/>
                  <a:gd name="T8" fmla="*/ 24 w 80"/>
                  <a:gd name="T9" fmla="*/ 16 h 32"/>
                  <a:gd name="T10" fmla="*/ 32 w 80"/>
                  <a:gd name="T11" fmla="*/ 16 h 32"/>
                  <a:gd name="T12" fmla="*/ 32 w 80"/>
                  <a:gd name="T13" fmla="*/ 0 h 32"/>
                  <a:gd name="T14" fmla="*/ 40 w 80"/>
                  <a:gd name="T15" fmla="*/ 0 h 32"/>
                  <a:gd name="T16" fmla="*/ 64 w 80"/>
                  <a:gd name="T17" fmla="*/ 8 h 32"/>
                  <a:gd name="T18" fmla="*/ 80 w 80"/>
                  <a:gd name="T19" fmla="*/ 24 h 32"/>
                  <a:gd name="T20" fmla="*/ 64 w 80"/>
                  <a:gd name="T21" fmla="*/ 32 h 32"/>
                  <a:gd name="T22" fmla="*/ 40 w 80"/>
                  <a:gd name="T23" fmla="*/ 24 h 32"/>
                  <a:gd name="T24" fmla="*/ 8 w 80"/>
                  <a:gd name="T25" fmla="*/ 24 h 32"/>
                  <a:gd name="T26" fmla="*/ 0 w 80"/>
                  <a:gd name="T27" fmla="*/ 32 h 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0"/>
                  <a:gd name="T43" fmla="*/ 0 h 32"/>
                  <a:gd name="T44" fmla="*/ 80 w 80"/>
                  <a:gd name="T45" fmla="*/ 32 h 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0" h="32">
                    <a:moveTo>
                      <a:pt x="0" y="32"/>
                    </a:moveTo>
                    <a:lnTo>
                      <a:pt x="0" y="16"/>
                    </a:lnTo>
                    <a:lnTo>
                      <a:pt x="0" y="8"/>
                    </a:lnTo>
                    <a:lnTo>
                      <a:pt x="8" y="8"/>
                    </a:lnTo>
                    <a:lnTo>
                      <a:pt x="24" y="16"/>
                    </a:lnTo>
                    <a:lnTo>
                      <a:pt x="32" y="16"/>
                    </a:lnTo>
                    <a:lnTo>
                      <a:pt x="32" y="0"/>
                    </a:lnTo>
                    <a:lnTo>
                      <a:pt x="40" y="0"/>
                    </a:lnTo>
                    <a:lnTo>
                      <a:pt x="64" y="8"/>
                    </a:lnTo>
                    <a:lnTo>
                      <a:pt x="80" y="24"/>
                    </a:lnTo>
                    <a:lnTo>
                      <a:pt x="64" y="32"/>
                    </a:lnTo>
                    <a:lnTo>
                      <a:pt x="40" y="24"/>
                    </a:lnTo>
                    <a:lnTo>
                      <a:pt x="8" y="24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0" name="Freeform 160">
                <a:extLst>
                  <a:ext uri="{FF2B5EF4-FFF2-40B4-BE49-F238E27FC236}">
                    <a16:creationId xmlns:a16="http://schemas.microsoft.com/office/drawing/2014/main" id="{6D907DBF-1539-4F7C-9E6E-01CACDC86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8" y="1784"/>
                <a:ext cx="72" cy="32"/>
              </a:xfrm>
              <a:custGeom>
                <a:avLst/>
                <a:gdLst>
                  <a:gd name="T0" fmla="*/ 32 w 72"/>
                  <a:gd name="T1" fmla="*/ 32 h 32"/>
                  <a:gd name="T2" fmla="*/ 24 w 72"/>
                  <a:gd name="T3" fmla="*/ 32 h 32"/>
                  <a:gd name="T4" fmla="*/ 24 w 72"/>
                  <a:gd name="T5" fmla="*/ 16 h 32"/>
                  <a:gd name="T6" fmla="*/ 0 w 72"/>
                  <a:gd name="T7" fmla="*/ 16 h 32"/>
                  <a:gd name="T8" fmla="*/ 8 w 72"/>
                  <a:gd name="T9" fmla="*/ 8 h 32"/>
                  <a:gd name="T10" fmla="*/ 16 w 72"/>
                  <a:gd name="T11" fmla="*/ 0 h 32"/>
                  <a:gd name="T12" fmla="*/ 48 w 72"/>
                  <a:gd name="T13" fmla="*/ 0 h 32"/>
                  <a:gd name="T14" fmla="*/ 72 w 72"/>
                  <a:gd name="T15" fmla="*/ 8 h 32"/>
                  <a:gd name="T16" fmla="*/ 72 w 72"/>
                  <a:gd name="T17" fmla="*/ 16 h 32"/>
                  <a:gd name="T18" fmla="*/ 56 w 72"/>
                  <a:gd name="T19" fmla="*/ 24 h 32"/>
                  <a:gd name="T20" fmla="*/ 64 w 72"/>
                  <a:gd name="T21" fmla="*/ 32 h 32"/>
                  <a:gd name="T22" fmla="*/ 32 w 72"/>
                  <a:gd name="T23" fmla="*/ 32 h 3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2"/>
                  <a:gd name="T37" fmla="*/ 0 h 32"/>
                  <a:gd name="T38" fmla="*/ 72 w 72"/>
                  <a:gd name="T39" fmla="*/ 32 h 3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2" h="32">
                    <a:moveTo>
                      <a:pt x="32" y="32"/>
                    </a:moveTo>
                    <a:lnTo>
                      <a:pt x="24" y="32"/>
                    </a:lnTo>
                    <a:lnTo>
                      <a:pt x="24" y="16"/>
                    </a:lnTo>
                    <a:lnTo>
                      <a:pt x="0" y="16"/>
                    </a:lnTo>
                    <a:lnTo>
                      <a:pt x="8" y="8"/>
                    </a:lnTo>
                    <a:lnTo>
                      <a:pt x="16" y="0"/>
                    </a:lnTo>
                    <a:lnTo>
                      <a:pt x="48" y="0"/>
                    </a:lnTo>
                    <a:lnTo>
                      <a:pt x="72" y="8"/>
                    </a:lnTo>
                    <a:lnTo>
                      <a:pt x="72" y="16"/>
                    </a:lnTo>
                    <a:lnTo>
                      <a:pt x="56" y="24"/>
                    </a:lnTo>
                    <a:lnTo>
                      <a:pt x="64" y="32"/>
                    </a:lnTo>
                    <a:lnTo>
                      <a:pt x="32" y="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1" name="Freeform 161">
                <a:extLst>
                  <a:ext uri="{FF2B5EF4-FFF2-40B4-BE49-F238E27FC236}">
                    <a16:creationId xmlns:a16="http://schemas.microsoft.com/office/drawing/2014/main" id="{9FF24823-08BA-4F4F-9D6F-A2D3AF559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0" y="1800"/>
                <a:ext cx="32" cy="16"/>
              </a:xfrm>
              <a:custGeom>
                <a:avLst/>
                <a:gdLst>
                  <a:gd name="T0" fmla="*/ 0 w 32"/>
                  <a:gd name="T1" fmla="*/ 8 h 16"/>
                  <a:gd name="T2" fmla="*/ 32 w 32"/>
                  <a:gd name="T3" fmla="*/ 16 h 16"/>
                  <a:gd name="T4" fmla="*/ 32 w 32"/>
                  <a:gd name="T5" fmla="*/ 0 h 16"/>
                  <a:gd name="T6" fmla="*/ 8 w 32"/>
                  <a:gd name="T7" fmla="*/ 0 h 16"/>
                  <a:gd name="T8" fmla="*/ 0 w 32"/>
                  <a:gd name="T9" fmla="*/ 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6"/>
                  <a:gd name="T17" fmla="*/ 32 w 32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6">
                    <a:moveTo>
                      <a:pt x="0" y="8"/>
                    </a:moveTo>
                    <a:lnTo>
                      <a:pt x="32" y="16"/>
                    </a:lnTo>
                    <a:lnTo>
                      <a:pt x="32" y="0"/>
                    </a:lnTo>
                    <a:lnTo>
                      <a:pt x="8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2" name="Freeform 162">
                <a:extLst>
                  <a:ext uri="{FF2B5EF4-FFF2-40B4-BE49-F238E27FC236}">
                    <a16:creationId xmlns:a16="http://schemas.microsoft.com/office/drawing/2014/main" id="{A24D6A22-15D5-4D57-A8D3-AAEC530368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8" y="1896"/>
                <a:ext cx="40" cy="48"/>
              </a:xfrm>
              <a:custGeom>
                <a:avLst/>
                <a:gdLst>
                  <a:gd name="T0" fmla="*/ 24 w 40"/>
                  <a:gd name="T1" fmla="*/ 48 h 48"/>
                  <a:gd name="T2" fmla="*/ 16 w 40"/>
                  <a:gd name="T3" fmla="*/ 24 h 48"/>
                  <a:gd name="T4" fmla="*/ 0 w 40"/>
                  <a:gd name="T5" fmla="*/ 8 h 48"/>
                  <a:gd name="T6" fmla="*/ 8 w 40"/>
                  <a:gd name="T7" fmla="*/ 0 h 48"/>
                  <a:gd name="T8" fmla="*/ 24 w 40"/>
                  <a:gd name="T9" fmla="*/ 8 h 48"/>
                  <a:gd name="T10" fmla="*/ 32 w 40"/>
                  <a:gd name="T11" fmla="*/ 16 h 48"/>
                  <a:gd name="T12" fmla="*/ 40 w 40"/>
                  <a:gd name="T13" fmla="*/ 24 h 48"/>
                  <a:gd name="T14" fmla="*/ 40 w 40"/>
                  <a:gd name="T15" fmla="*/ 32 h 48"/>
                  <a:gd name="T16" fmla="*/ 32 w 40"/>
                  <a:gd name="T17" fmla="*/ 32 h 48"/>
                  <a:gd name="T18" fmla="*/ 24 w 40"/>
                  <a:gd name="T19" fmla="*/ 48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"/>
                  <a:gd name="T31" fmla="*/ 0 h 48"/>
                  <a:gd name="T32" fmla="*/ 40 w 40"/>
                  <a:gd name="T33" fmla="*/ 48 h 4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" h="48">
                    <a:moveTo>
                      <a:pt x="24" y="48"/>
                    </a:moveTo>
                    <a:lnTo>
                      <a:pt x="16" y="24"/>
                    </a:lnTo>
                    <a:lnTo>
                      <a:pt x="0" y="8"/>
                    </a:lnTo>
                    <a:lnTo>
                      <a:pt x="8" y="0"/>
                    </a:lnTo>
                    <a:lnTo>
                      <a:pt x="24" y="8"/>
                    </a:lnTo>
                    <a:lnTo>
                      <a:pt x="32" y="16"/>
                    </a:lnTo>
                    <a:lnTo>
                      <a:pt x="40" y="24"/>
                    </a:lnTo>
                    <a:lnTo>
                      <a:pt x="40" y="32"/>
                    </a:lnTo>
                    <a:lnTo>
                      <a:pt x="32" y="32"/>
                    </a:lnTo>
                    <a:lnTo>
                      <a:pt x="24" y="4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3" name="Freeform 163">
                <a:extLst>
                  <a:ext uri="{FF2B5EF4-FFF2-40B4-BE49-F238E27FC236}">
                    <a16:creationId xmlns:a16="http://schemas.microsoft.com/office/drawing/2014/main" id="{513E0A7D-2D92-4F99-A220-2C816A8AE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6" y="1976"/>
                <a:ext cx="80" cy="32"/>
              </a:xfrm>
              <a:custGeom>
                <a:avLst/>
                <a:gdLst>
                  <a:gd name="T0" fmla="*/ 64 w 80"/>
                  <a:gd name="T1" fmla="*/ 32 h 32"/>
                  <a:gd name="T2" fmla="*/ 64 w 80"/>
                  <a:gd name="T3" fmla="*/ 24 h 32"/>
                  <a:gd name="T4" fmla="*/ 80 w 80"/>
                  <a:gd name="T5" fmla="*/ 32 h 32"/>
                  <a:gd name="T6" fmla="*/ 72 w 80"/>
                  <a:gd name="T7" fmla="*/ 24 h 32"/>
                  <a:gd name="T8" fmla="*/ 80 w 80"/>
                  <a:gd name="T9" fmla="*/ 24 h 32"/>
                  <a:gd name="T10" fmla="*/ 64 w 80"/>
                  <a:gd name="T11" fmla="*/ 8 h 32"/>
                  <a:gd name="T12" fmla="*/ 48 w 80"/>
                  <a:gd name="T13" fmla="*/ 8 h 32"/>
                  <a:gd name="T14" fmla="*/ 32 w 80"/>
                  <a:gd name="T15" fmla="*/ 0 h 32"/>
                  <a:gd name="T16" fmla="*/ 0 w 80"/>
                  <a:gd name="T17" fmla="*/ 0 h 32"/>
                  <a:gd name="T18" fmla="*/ 8 w 80"/>
                  <a:gd name="T19" fmla="*/ 8 h 32"/>
                  <a:gd name="T20" fmla="*/ 24 w 80"/>
                  <a:gd name="T21" fmla="*/ 16 h 32"/>
                  <a:gd name="T22" fmla="*/ 24 w 80"/>
                  <a:gd name="T23" fmla="*/ 24 h 32"/>
                  <a:gd name="T24" fmla="*/ 40 w 80"/>
                  <a:gd name="T25" fmla="*/ 24 h 32"/>
                  <a:gd name="T26" fmla="*/ 40 w 80"/>
                  <a:gd name="T27" fmla="*/ 32 h 32"/>
                  <a:gd name="T28" fmla="*/ 64 w 80"/>
                  <a:gd name="T29" fmla="*/ 32 h 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0"/>
                  <a:gd name="T46" fmla="*/ 0 h 32"/>
                  <a:gd name="T47" fmla="*/ 80 w 80"/>
                  <a:gd name="T48" fmla="*/ 32 h 3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0" h="32">
                    <a:moveTo>
                      <a:pt x="64" y="32"/>
                    </a:moveTo>
                    <a:lnTo>
                      <a:pt x="64" y="24"/>
                    </a:lnTo>
                    <a:lnTo>
                      <a:pt x="80" y="32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64" y="8"/>
                    </a:lnTo>
                    <a:lnTo>
                      <a:pt x="48" y="8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24" y="16"/>
                    </a:lnTo>
                    <a:lnTo>
                      <a:pt x="24" y="24"/>
                    </a:lnTo>
                    <a:lnTo>
                      <a:pt x="40" y="24"/>
                    </a:lnTo>
                    <a:lnTo>
                      <a:pt x="40" y="32"/>
                    </a:lnTo>
                    <a:lnTo>
                      <a:pt x="64" y="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4" name="Freeform 164">
                <a:extLst>
                  <a:ext uri="{FF2B5EF4-FFF2-40B4-BE49-F238E27FC236}">
                    <a16:creationId xmlns:a16="http://schemas.microsoft.com/office/drawing/2014/main" id="{3777091C-3FB3-4C84-AEF7-64CB4A76F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6" y="2008"/>
                <a:ext cx="48" cy="32"/>
              </a:xfrm>
              <a:custGeom>
                <a:avLst/>
                <a:gdLst>
                  <a:gd name="T0" fmla="*/ 24 w 48"/>
                  <a:gd name="T1" fmla="*/ 16 h 32"/>
                  <a:gd name="T2" fmla="*/ 8 w 48"/>
                  <a:gd name="T3" fmla="*/ 16 h 32"/>
                  <a:gd name="T4" fmla="*/ 0 w 48"/>
                  <a:gd name="T5" fmla="*/ 0 h 32"/>
                  <a:gd name="T6" fmla="*/ 24 w 48"/>
                  <a:gd name="T7" fmla="*/ 0 h 32"/>
                  <a:gd name="T8" fmla="*/ 32 w 48"/>
                  <a:gd name="T9" fmla="*/ 8 h 32"/>
                  <a:gd name="T10" fmla="*/ 32 w 48"/>
                  <a:gd name="T11" fmla="*/ 16 h 32"/>
                  <a:gd name="T12" fmla="*/ 40 w 48"/>
                  <a:gd name="T13" fmla="*/ 16 h 32"/>
                  <a:gd name="T14" fmla="*/ 48 w 48"/>
                  <a:gd name="T15" fmla="*/ 32 h 32"/>
                  <a:gd name="T16" fmla="*/ 40 w 48"/>
                  <a:gd name="T17" fmla="*/ 32 h 32"/>
                  <a:gd name="T18" fmla="*/ 32 w 48"/>
                  <a:gd name="T19" fmla="*/ 24 h 32"/>
                  <a:gd name="T20" fmla="*/ 24 w 48"/>
                  <a:gd name="T21" fmla="*/ 16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8"/>
                  <a:gd name="T34" fmla="*/ 0 h 32"/>
                  <a:gd name="T35" fmla="*/ 48 w 48"/>
                  <a:gd name="T36" fmla="*/ 32 h 3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8" h="32">
                    <a:moveTo>
                      <a:pt x="24" y="16"/>
                    </a:moveTo>
                    <a:lnTo>
                      <a:pt x="8" y="16"/>
                    </a:lnTo>
                    <a:lnTo>
                      <a:pt x="0" y="0"/>
                    </a:lnTo>
                    <a:lnTo>
                      <a:pt x="24" y="0"/>
                    </a:lnTo>
                    <a:lnTo>
                      <a:pt x="32" y="8"/>
                    </a:lnTo>
                    <a:lnTo>
                      <a:pt x="32" y="16"/>
                    </a:lnTo>
                    <a:lnTo>
                      <a:pt x="40" y="16"/>
                    </a:lnTo>
                    <a:lnTo>
                      <a:pt x="48" y="32"/>
                    </a:lnTo>
                    <a:lnTo>
                      <a:pt x="40" y="32"/>
                    </a:lnTo>
                    <a:lnTo>
                      <a:pt x="32" y="24"/>
                    </a:lnTo>
                    <a:lnTo>
                      <a:pt x="24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5" name="Freeform 165">
                <a:extLst>
                  <a:ext uri="{FF2B5EF4-FFF2-40B4-BE49-F238E27FC236}">
                    <a16:creationId xmlns:a16="http://schemas.microsoft.com/office/drawing/2014/main" id="{CE73EA4E-61B0-4907-9F4E-BB7E4BF33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2024"/>
                <a:ext cx="16" cy="16"/>
              </a:xfrm>
              <a:custGeom>
                <a:avLst/>
                <a:gdLst>
                  <a:gd name="T0" fmla="*/ 16 w 16"/>
                  <a:gd name="T1" fmla="*/ 16 h 16"/>
                  <a:gd name="T2" fmla="*/ 8 w 16"/>
                  <a:gd name="T3" fmla="*/ 16 h 16"/>
                  <a:gd name="T4" fmla="*/ 0 w 16"/>
                  <a:gd name="T5" fmla="*/ 0 h 16"/>
                  <a:gd name="T6" fmla="*/ 8 w 16"/>
                  <a:gd name="T7" fmla="*/ 8 h 16"/>
                  <a:gd name="T8" fmla="*/ 16 w 16"/>
                  <a:gd name="T9" fmla="*/ 16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6"/>
                  <a:gd name="T17" fmla="*/ 16 w 16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6">
                    <a:moveTo>
                      <a:pt x="16" y="16"/>
                    </a:moveTo>
                    <a:lnTo>
                      <a:pt x="8" y="16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16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6" name="Freeform 166">
                <a:extLst>
                  <a:ext uri="{FF2B5EF4-FFF2-40B4-BE49-F238E27FC236}">
                    <a16:creationId xmlns:a16="http://schemas.microsoft.com/office/drawing/2014/main" id="{4E0F883B-3ED1-4A98-A5BF-0E8C1E4E9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2000"/>
                <a:ext cx="64" cy="48"/>
              </a:xfrm>
              <a:custGeom>
                <a:avLst/>
                <a:gdLst>
                  <a:gd name="T0" fmla="*/ 40 w 64"/>
                  <a:gd name="T1" fmla="*/ 0 h 48"/>
                  <a:gd name="T2" fmla="*/ 48 w 64"/>
                  <a:gd name="T3" fmla="*/ 8 h 48"/>
                  <a:gd name="T4" fmla="*/ 64 w 64"/>
                  <a:gd name="T5" fmla="*/ 16 h 48"/>
                  <a:gd name="T6" fmla="*/ 56 w 64"/>
                  <a:gd name="T7" fmla="*/ 24 h 48"/>
                  <a:gd name="T8" fmla="*/ 56 w 64"/>
                  <a:gd name="T9" fmla="*/ 40 h 48"/>
                  <a:gd name="T10" fmla="*/ 48 w 64"/>
                  <a:gd name="T11" fmla="*/ 40 h 48"/>
                  <a:gd name="T12" fmla="*/ 56 w 64"/>
                  <a:gd name="T13" fmla="*/ 48 h 48"/>
                  <a:gd name="T14" fmla="*/ 40 w 64"/>
                  <a:gd name="T15" fmla="*/ 40 h 48"/>
                  <a:gd name="T16" fmla="*/ 40 w 64"/>
                  <a:gd name="T17" fmla="*/ 32 h 48"/>
                  <a:gd name="T18" fmla="*/ 24 w 64"/>
                  <a:gd name="T19" fmla="*/ 40 h 48"/>
                  <a:gd name="T20" fmla="*/ 16 w 64"/>
                  <a:gd name="T21" fmla="*/ 24 h 48"/>
                  <a:gd name="T22" fmla="*/ 8 w 64"/>
                  <a:gd name="T23" fmla="*/ 24 h 48"/>
                  <a:gd name="T24" fmla="*/ 8 w 64"/>
                  <a:gd name="T25" fmla="*/ 16 h 48"/>
                  <a:gd name="T26" fmla="*/ 0 w 64"/>
                  <a:gd name="T27" fmla="*/ 8 h 48"/>
                  <a:gd name="T28" fmla="*/ 0 w 64"/>
                  <a:gd name="T29" fmla="*/ 0 h 48"/>
                  <a:gd name="T30" fmla="*/ 16 w 64"/>
                  <a:gd name="T31" fmla="*/ 8 h 48"/>
                  <a:gd name="T32" fmla="*/ 8 w 64"/>
                  <a:gd name="T33" fmla="*/ 0 h 48"/>
                  <a:gd name="T34" fmla="*/ 16 w 64"/>
                  <a:gd name="T35" fmla="*/ 0 h 48"/>
                  <a:gd name="T36" fmla="*/ 24 w 64"/>
                  <a:gd name="T37" fmla="*/ 8 h 48"/>
                  <a:gd name="T38" fmla="*/ 32 w 64"/>
                  <a:gd name="T39" fmla="*/ 8 h 48"/>
                  <a:gd name="T40" fmla="*/ 40 w 64"/>
                  <a:gd name="T41" fmla="*/ 0 h 4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4"/>
                  <a:gd name="T64" fmla="*/ 0 h 48"/>
                  <a:gd name="T65" fmla="*/ 64 w 64"/>
                  <a:gd name="T66" fmla="*/ 48 h 4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4" h="48">
                    <a:moveTo>
                      <a:pt x="40" y="0"/>
                    </a:moveTo>
                    <a:lnTo>
                      <a:pt x="48" y="8"/>
                    </a:lnTo>
                    <a:lnTo>
                      <a:pt x="64" y="16"/>
                    </a:lnTo>
                    <a:lnTo>
                      <a:pt x="56" y="24"/>
                    </a:lnTo>
                    <a:lnTo>
                      <a:pt x="56" y="40"/>
                    </a:lnTo>
                    <a:lnTo>
                      <a:pt x="48" y="40"/>
                    </a:lnTo>
                    <a:lnTo>
                      <a:pt x="56" y="48"/>
                    </a:lnTo>
                    <a:lnTo>
                      <a:pt x="40" y="40"/>
                    </a:lnTo>
                    <a:lnTo>
                      <a:pt x="40" y="32"/>
                    </a:lnTo>
                    <a:lnTo>
                      <a:pt x="24" y="40"/>
                    </a:lnTo>
                    <a:lnTo>
                      <a:pt x="16" y="24"/>
                    </a:lnTo>
                    <a:lnTo>
                      <a:pt x="8" y="24"/>
                    </a:lnTo>
                    <a:lnTo>
                      <a:pt x="8" y="1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16" y="8"/>
                    </a:lnTo>
                    <a:lnTo>
                      <a:pt x="8" y="0"/>
                    </a:lnTo>
                    <a:lnTo>
                      <a:pt x="16" y="0"/>
                    </a:lnTo>
                    <a:lnTo>
                      <a:pt x="24" y="8"/>
                    </a:lnTo>
                    <a:lnTo>
                      <a:pt x="32" y="8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63" name="Freeform 167">
              <a:extLst>
                <a:ext uri="{FF2B5EF4-FFF2-40B4-BE49-F238E27FC236}">
                  <a16:creationId xmlns:a16="http://schemas.microsoft.com/office/drawing/2014/main" id="{1E8543D9-384B-4B15-AABF-B182249D980D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3644649" y="4586566"/>
              <a:ext cx="456552" cy="477922"/>
            </a:xfrm>
            <a:custGeom>
              <a:avLst/>
              <a:gdLst>
                <a:gd name="T0" fmla="*/ 0 w 168"/>
                <a:gd name="T1" fmla="*/ 29464 h 200"/>
                <a:gd name="T2" fmla="*/ 34471 w 168"/>
                <a:gd name="T3" fmla="*/ 44196 h 200"/>
                <a:gd name="T4" fmla="*/ 68943 w 168"/>
                <a:gd name="T5" fmla="*/ 0 h 200"/>
                <a:gd name="T6" fmla="*/ 120650 w 168"/>
                <a:gd name="T7" fmla="*/ 0 h 200"/>
                <a:gd name="T8" fmla="*/ 120650 w 168"/>
                <a:gd name="T9" fmla="*/ 44196 h 200"/>
                <a:gd name="T10" fmla="*/ 137886 w 168"/>
                <a:gd name="T11" fmla="*/ 73660 h 200"/>
                <a:gd name="T12" fmla="*/ 258536 w 168"/>
                <a:gd name="T13" fmla="*/ 117856 h 200"/>
                <a:gd name="T14" fmla="*/ 275771 w 168"/>
                <a:gd name="T15" fmla="*/ 147320 h 200"/>
                <a:gd name="T16" fmla="*/ 275771 w 168"/>
                <a:gd name="T17" fmla="*/ 162052 h 200"/>
                <a:gd name="T18" fmla="*/ 275771 w 168"/>
                <a:gd name="T19" fmla="*/ 176784 h 200"/>
                <a:gd name="T20" fmla="*/ 327479 w 168"/>
                <a:gd name="T21" fmla="*/ 191516 h 200"/>
                <a:gd name="T22" fmla="*/ 327479 w 168"/>
                <a:gd name="T23" fmla="*/ 206248 h 200"/>
                <a:gd name="T24" fmla="*/ 361950 w 168"/>
                <a:gd name="T25" fmla="*/ 235712 h 200"/>
                <a:gd name="T26" fmla="*/ 344714 w 168"/>
                <a:gd name="T27" fmla="*/ 294640 h 200"/>
                <a:gd name="T28" fmla="*/ 327479 w 168"/>
                <a:gd name="T29" fmla="*/ 265176 h 200"/>
                <a:gd name="T30" fmla="*/ 241300 w 168"/>
                <a:gd name="T31" fmla="*/ 279908 h 200"/>
                <a:gd name="T32" fmla="*/ 224064 w 168"/>
                <a:gd name="T33" fmla="*/ 353568 h 200"/>
                <a:gd name="T34" fmla="*/ 189593 w 168"/>
                <a:gd name="T35" fmla="*/ 353568 h 200"/>
                <a:gd name="T36" fmla="*/ 137886 w 168"/>
                <a:gd name="T37" fmla="*/ 338836 h 200"/>
                <a:gd name="T38" fmla="*/ 103414 w 168"/>
                <a:gd name="T39" fmla="*/ 368300 h 200"/>
                <a:gd name="T40" fmla="*/ 86179 w 168"/>
                <a:gd name="T41" fmla="*/ 368300 h 200"/>
                <a:gd name="T42" fmla="*/ 51707 w 168"/>
                <a:gd name="T43" fmla="*/ 294640 h 200"/>
                <a:gd name="T44" fmla="*/ 51707 w 168"/>
                <a:gd name="T45" fmla="*/ 265176 h 200"/>
                <a:gd name="T46" fmla="*/ 17236 w 168"/>
                <a:gd name="T47" fmla="*/ 220980 h 200"/>
                <a:gd name="T48" fmla="*/ 34471 w 168"/>
                <a:gd name="T49" fmla="*/ 191516 h 200"/>
                <a:gd name="T50" fmla="*/ 17236 w 168"/>
                <a:gd name="T51" fmla="*/ 176784 h 200"/>
                <a:gd name="T52" fmla="*/ 17236 w 168"/>
                <a:gd name="T53" fmla="*/ 73660 h 200"/>
                <a:gd name="T54" fmla="*/ 0 w 168"/>
                <a:gd name="T55" fmla="*/ 29464 h 2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68"/>
                <a:gd name="T85" fmla="*/ 0 h 200"/>
                <a:gd name="T86" fmla="*/ 168 w 168"/>
                <a:gd name="T87" fmla="*/ 200 h 2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68" h="200">
                  <a:moveTo>
                    <a:pt x="0" y="16"/>
                  </a:moveTo>
                  <a:lnTo>
                    <a:pt x="16" y="24"/>
                  </a:lnTo>
                  <a:lnTo>
                    <a:pt x="32" y="0"/>
                  </a:lnTo>
                  <a:lnTo>
                    <a:pt x="56" y="0"/>
                  </a:lnTo>
                  <a:lnTo>
                    <a:pt x="56" y="24"/>
                  </a:lnTo>
                  <a:lnTo>
                    <a:pt x="64" y="40"/>
                  </a:lnTo>
                  <a:lnTo>
                    <a:pt x="120" y="64"/>
                  </a:lnTo>
                  <a:lnTo>
                    <a:pt x="128" y="80"/>
                  </a:lnTo>
                  <a:lnTo>
                    <a:pt x="128" y="88"/>
                  </a:lnTo>
                  <a:lnTo>
                    <a:pt x="128" y="96"/>
                  </a:lnTo>
                  <a:lnTo>
                    <a:pt x="152" y="104"/>
                  </a:lnTo>
                  <a:lnTo>
                    <a:pt x="152" y="112"/>
                  </a:lnTo>
                  <a:lnTo>
                    <a:pt x="168" y="128"/>
                  </a:lnTo>
                  <a:lnTo>
                    <a:pt x="160" y="160"/>
                  </a:lnTo>
                  <a:lnTo>
                    <a:pt x="152" y="144"/>
                  </a:lnTo>
                  <a:lnTo>
                    <a:pt x="112" y="152"/>
                  </a:lnTo>
                  <a:lnTo>
                    <a:pt x="104" y="192"/>
                  </a:lnTo>
                  <a:lnTo>
                    <a:pt x="88" y="192"/>
                  </a:lnTo>
                  <a:lnTo>
                    <a:pt x="64" y="184"/>
                  </a:lnTo>
                  <a:lnTo>
                    <a:pt x="48" y="200"/>
                  </a:lnTo>
                  <a:lnTo>
                    <a:pt x="40" y="200"/>
                  </a:lnTo>
                  <a:lnTo>
                    <a:pt x="24" y="160"/>
                  </a:lnTo>
                  <a:lnTo>
                    <a:pt x="24" y="144"/>
                  </a:lnTo>
                  <a:lnTo>
                    <a:pt x="8" y="120"/>
                  </a:lnTo>
                  <a:lnTo>
                    <a:pt x="16" y="104"/>
                  </a:lnTo>
                  <a:lnTo>
                    <a:pt x="8" y="96"/>
                  </a:lnTo>
                  <a:lnTo>
                    <a:pt x="8" y="4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Freeform 168">
              <a:extLst>
                <a:ext uri="{FF2B5EF4-FFF2-40B4-BE49-F238E27FC236}">
                  <a16:creationId xmlns:a16="http://schemas.microsoft.com/office/drawing/2014/main" id="{AF5845D0-A9FE-4B4E-9CBB-61EA43D388EA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3926990" y="4930587"/>
              <a:ext cx="306371" cy="306942"/>
            </a:xfrm>
            <a:custGeom>
              <a:avLst/>
              <a:gdLst>
                <a:gd name="T0" fmla="*/ 242888 w 112"/>
                <a:gd name="T1" fmla="*/ 177403 h 128"/>
                <a:gd name="T2" fmla="*/ 242888 w 112"/>
                <a:gd name="T3" fmla="*/ 133053 h 128"/>
                <a:gd name="T4" fmla="*/ 208190 w 112"/>
                <a:gd name="T5" fmla="*/ 133053 h 128"/>
                <a:gd name="T6" fmla="*/ 208190 w 112"/>
                <a:gd name="T7" fmla="*/ 88702 h 128"/>
                <a:gd name="T8" fmla="*/ 190841 w 112"/>
                <a:gd name="T9" fmla="*/ 88702 h 128"/>
                <a:gd name="T10" fmla="*/ 138793 w 112"/>
                <a:gd name="T11" fmla="*/ 73918 h 128"/>
                <a:gd name="T12" fmla="*/ 121444 w 112"/>
                <a:gd name="T13" fmla="*/ 29567 h 128"/>
                <a:gd name="T14" fmla="*/ 104095 w 112"/>
                <a:gd name="T15" fmla="*/ 0 h 128"/>
                <a:gd name="T16" fmla="*/ 17349 w 112"/>
                <a:gd name="T17" fmla="*/ 14784 h 128"/>
                <a:gd name="T18" fmla="*/ 0 w 112"/>
                <a:gd name="T19" fmla="*/ 88702 h 128"/>
                <a:gd name="T20" fmla="*/ 69397 w 112"/>
                <a:gd name="T21" fmla="*/ 133053 h 128"/>
                <a:gd name="T22" fmla="*/ 104095 w 112"/>
                <a:gd name="T23" fmla="*/ 147836 h 128"/>
                <a:gd name="T24" fmla="*/ 156142 w 112"/>
                <a:gd name="T25" fmla="*/ 162620 h 128"/>
                <a:gd name="T26" fmla="*/ 156142 w 112"/>
                <a:gd name="T27" fmla="*/ 192187 h 128"/>
                <a:gd name="T28" fmla="*/ 138793 w 112"/>
                <a:gd name="T29" fmla="*/ 221754 h 128"/>
                <a:gd name="T30" fmla="*/ 208190 w 112"/>
                <a:gd name="T31" fmla="*/ 236538 h 128"/>
                <a:gd name="T32" fmla="*/ 225539 w 112"/>
                <a:gd name="T33" fmla="*/ 236538 h 128"/>
                <a:gd name="T34" fmla="*/ 242888 w 112"/>
                <a:gd name="T35" fmla="*/ 206971 h 128"/>
                <a:gd name="T36" fmla="*/ 242888 w 112"/>
                <a:gd name="T37" fmla="*/ 177403 h 1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2"/>
                <a:gd name="T58" fmla="*/ 0 h 128"/>
                <a:gd name="T59" fmla="*/ 112 w 112"/>
                <a:gd name="T60" fmla="*/ 128 h 1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2" h="128">
                  <a:moveTo>
                    <a:pt x="112" y="96"/>
                  </a:moveTo>
                  <a:lnTo>
                    <a:pt x="112" y="72"/>
                  </a:lnTo>
                  <a:lnTo>
                    <a:pt x="96" y="72"/>
                  </a:lnTo>
                  <a:lnTo>
                    <a:pt x="96" y="48"/>
                  </a:lnTo>
                  <a:lnTo>
                    <a:pt x="88" y="48"/>
                  </a:lnTo>
                  <a:lnTo>
                    <a:pt x="64" y="40"/>
                  </a:lnTo>
                  <a:lnTo>
                    <a:pt x="56" y="16"/>
                  </a:lnTo>
                  <a:lnTo>
                    <a:pt x="48" y="0"/>
                  </a:lnTo>
                  <a:lnTo>
                    <a:pt x="8" y="8"/>
                  </a:lnTo>
                  <a:lnTo>
                    <a:pt x="0" y="48"/>
                  </a:lnTo>
                  <a:lnTo>
                    <a:pt x="32" y="72"/>
                  </a:lnTo>
                  <a:lnTo>
                    <a:pt x="48" y="80"/>
                  </a:lnTo>
                  <a:lnTo>
                    <a:pt x="72" y="88"/>
                  </a:lnTo>
                  <a:lnTo>
                    <a:pt x="72" y="104"/>
                  </a:lnTo>
                  <a:lnTo>
                    <a:pt x="64" y="120"/>
                  </a:lnTo>
                  <a:lnTo>
                    <a:pt x="96" y="128"/>
                  </a:lnTo>
                  <a:lnTo>
                    <a:pt x="104" y="128"/>
                  </a:lnTo>
                  <a:lnTo>
                    <a:pt x="112" y="112"/>
                  </a:lnTo>
                  <a:lnTo>
                    <a:pt x="112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169">
              <a:extLst>
                <a:ext uri="{FF2B5EF4-FFF2-40B4-BE49-F238E27FC236}">
                  <a16:creationId xmlns:a16="http://schemas.microsoft.com/office/drawing/2014/main" id="{AD5A32CE-DFB7-4DFB-923A-6E65EA8143AE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730753" y="5027408"/>
              <a:ext cx="546661" cy="1089744"/>
            </a:xfrm>
            <a:custGeom>
              <a:avLst/>
              <a:gdLst>
                <a:gd name="T0" fmla="*/ 346710 w 200"/>
                <a:gd name="T1" fmla="*/ 338862 h 456"/>
                <a:gd name="T2" fmla="*/ 398717 w 200"/>
                <a:gd name="T3" fmla="*/ 383061 h 456"/>
                <a:gd name="T4" fmla="*/ 416052 w 200"/>
                <a:gd name="T5" fmla="*/ 412527 h 456"/>
                <a:gd name="T6" fmla="*/ 398717 w 200"/>
                <a:gd name="T7" fmla="*/ 456727 h 456"/>
                <a:gd name="T8" fmla="*/ 294704 w 200"/>
                <a:gd name="T9" fmla="*/ 486193 h 456"/>
                <a:gd name="T10" fmla="*/ 294704 w 200"/>
                <a:gd name="T11" fmla="*/ 500926 h 456"/>
                <a:gd name="T12" fmla="*/ 260033 w 200"/>
                <a:gd name="T13" fmla="*/ 545126 h 456"/>
                <a:gd name="T14" fmla="*/ 242697 w 200"/>
                <a:gd name="T15" fmla="*/ 559859 h 456"/>
                <a:gd name="T16" fmla="*/ 277368 w 200"/>
                <a:gd name="T17" fmla="*/ 559859 h 456"/>
                <a:gd name="T18" fmla="*/ 294704 w 200"/>
                <a:gd name="T19" fmla="*/ 589325 h 456"/>
                <a:gd name="T20" fmla="*/ 260033 w 200"/>
                <a:gd name="T21" fmla="*/ 574592 h 456"/>
                <a:gd name="T22" fmla="*/ 277368 w 200"/>
                <a:gd name="T23" fmla="*/ 589325 h 456"/>
                <a:gd name="T24" fmla="*/ 260033 w 200"/>
                <a:gd name="T25" fmla="*/ 633524 h 456"/>
                <a:gd name="T26" fmla="*/ 225362 w 200"/>
                <a:gd name="T27" fmla="*/ 648257 h 456"/>
                <a:gd name="T28" fmla="*/ 225362 w 200"/>
                <a:gd name="T29" fmla="*/ 692457 h 456"/>
                <a:gd name="T30" fmla="*/ 277368 w 200"/>
                <a:gd name="T31" fmla="*/ 707190 h 456"/>
                <a:gd name="T32" fmla="*/ 260033 w 200"/>
                <a:gd name="T33" fmla="*/ 751389 h 456"/>
                <a:gd name="T34" fmla="*/ 242697 w 200"/>
                <a:gd name="T35" fmla="*/ 795589 h 456"/>
                <a:gd name="T36" fmla="*/ 294704 w 200"/>
                <a:gd name="T37" fmla="*/ 839788 h 456"/>
                <a:gd name="T38" fmla="*/ 190691 w 200"/>
                <a:gd name="T39" fmla="*/ 839788 h 456"/>
                <a:gd name="T40" fmla="*/ 138684 w 200"/>
                <a:gd name="T41" fmla="*/ 795589 h 456"/>
                <a:gd name="T42" fmla="*/ 121349 w 200"/>
                <a:gd name="T43" fmla="*/ 692457 h 456"/>
                <a:gd name="T44" fmla="*/ 104013 w 200"/>
                <a:gd name="T45" fmla="*/ 648257 h 456"/>
                <a:gd name="T46" fmla="*/ 69342 w 200"/>
                <a:gd name="T47" fmla="*/ 589325 h 456"/>
                <a:gd name="T48" fmla="*/ 52007 w 200"/>
                <a:gd name="T49" fmla="*/ 545126 h 456"/>
                <a:gd name="T50" fmla="*/ 17336 w 200"/>
                <a:gd name="T51" fmla="*/ 427261 h 456"/>
                <a:gd name="T52" fmla="*/ 17336 w 200"/>
                <a:gd name="T53" fmla="*/ 383061 h 456"/>
                <a:gd name="T54" fmla="*/ 0 w 200"/>
                <a:gd name="T55" fmla="*/ 265196 h 456"/>
                <a:gd name="T56" fmla="*/ 17336 w 200"/>
                <a:gd name="T57" fmla="*/ 132598 h 456"/>
                <a:gd name="T58" fmla="*/ 34671 w 200"/>
                <a:gd name="T59" fmla="*/ 58933 h 456"/>
                <a:gd name="T60" fmla="*/ 69342 w 200"/>
                <a:gd name="T61" fmla="*/ 0 h 456"/>
                <a:gd name="T62" fmla="*/ 156020 w 200"/>
                <a:gd name="T63" fmla="*/ 14733 h 456"/>
                <a:gd name="T64" fmla="*/ 260033 w 200"/>
                <a:gd name="T65" fmla="*/ 73666 h 456"/>
                <a:gd name="T66" fmla="*/ 312039 w 200"/>
                <a:gd name="T67" fmla="*/ 117865 h 456"/>
                <a:gd name="T68" fmla="*/ 364046 w 200"/>
                <a:gd name="T69" fmla="*/ 162064 h 456"/>
                <a:gd name="T70" fmla="*/ 398717 w 200"/>
                <a:gd name="T71" fmla="*/ 132598 h 456"/>
                <a:gd name="T72" fmla="*/ 416052 w 200"/>
                <a:gd name="T73" fmla="*/ 103132 h 456"/>
                <a:gd name="T74" fmla="*/ 416052 w 200"/>
                <a:gd name="T75" fmla="*/ 162064 h 4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00"/>
                <a:gd name="T115" fmla="*/ 0 h 456"/>
                <a:gd name="T116" fmla="*/ 200 w 200"/>
                <a:gd name="T117" fmla="*/ 456 h 4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00" h="456">
                  <a:moveTo>
                    <a:pt x="160" y="128"/>
                  </a:moveTo>
                  <a:lnTo>
                    <a:pt x="160" y="184"/>
                  </a:lnTo>
                  <a:lnTo>
                    <a:pt x="160" y="192"/>
                  </a:lnTo>
                  <a:lnTo>
                    <a:pt x="184" y="208"/>
                  </a:lnTo>
                  <a:lnTo>
                    <a:pt x="176" y="216"/>
                  </a:lnTo>
                  <a:lnTo>
                    <a:pt x="192" y="224"/>
                  </a:lnTo>
                  <a:lnTo>
                    <a:pt x="192" y="232"/>
                  </a:lnTo>
                  <a:lnTo>
                    <a:pt x="184" y="248"/>
                  </a:lnTo>
                  <a:lnTo>
                    <a:pt x="152" y="256"/>
                  </a:lnTo>
                  <a:lnTo>
                    <a:pt x="136" y="264"/>
                  </a:lnTo>
                  <a:lnTo>
                    <a:pt x="128" y="256"/>
                  </a:lnTo>
                  <a:lnTo>
                    <a:pt x="136" y="272"/>
                  </a:lnTo>
                  <a:lnTo>
                    <a:pt x="136" y="288"/>
                  </a:lnTo>
                  <a:lnTo>
                    <a:pt x="120" y="296"/>
                  </a:lnTo>
                  <a:lnTo>
                    <a:pt x="104" y="288"/>
                  </a:lnTo>
                  <a:lnTo>
                    <a:pt x="112" y="304"/>
                  </a:lnTo>
                  <a:lnTo>
                    <a:pt x="120" y="312"/>
                  </a:lnTo>
                  <a:lnTo>
                    <a:pt x="128" y="304"/>
                  </a:lnTo>
                  <a:lnTo>
                    <a:pt x="136" y="312"/>
                  </a:lnTo>
                  <a:lnTo>
                    <a:pt x="136" y="320"/>
                  </a:lnTo>
                  <a:lnTo>
                    <a:pt x="128" y="320"/>
                  </a:lnTo>
                  <a:lnTo>
                    <a:pt x="120" y="312"/>
                  </a:lnTo>
                  <a:lnTo>
                    <a:pt x="120" y="320"/>
                  </a:lnTo>
                  <a:lnTo>
                    <a:pt x="128" y="320"/>
                  </a:lnTo>
                  <a:lnTo>
                    <a:pt x="120" y="328"/>
                  </a:lnTo>
                  <a:lnTo>
                    <a:pt x="120" y="344"/>
                  </a:lnTo>
                  <a:lnTo>
                    <a:pt x="120" y="352"/>
                  </a:lnTo>
                  <a:lnTo>
                    <a:pt x="104" y="352"/>
                  </a:lnTo>
                  <a:lnTo>
                    <a:pt x="104" y="368"/>
                  </a:lnTo>
                  <a:lnTo>
                    <a:pt x="104" y="376"/>
                  </a:lnTo>
                  <a:lnTo>
                    <a:pt x="120" y="384"/>
                  </a:lnTo>
                  <a:lnTo>
                    <a:pt x="128" y="384"/>
                  </a:lnTo>
                  <a:lnTo>
                    <a:pt x="136" y="392"/>
                  </a:lnTo>
                  <a:lnTo>
                    <a:pt x="120" y="408"/>
                  </a:lnTo>
                  <a:lnTo>
                    <a:pt x="120" y="424"/>
                  </a:lnTo>
                  <a:lnTo>
                    <a:pt x="112" y="432"/>
                  </a:lnTo>
                  <a:lnTo>
                    <a:pt x="112" y="440"/>
                  </a:lnTo>
                  <a:lnTo>
                    <a:pt x="136" y="456"/>
                  </a:lnTo>
                  <a:lnTo>
                    <a:pt x="120" y="456"/>
                  </a:lnTo>
                  <a:lnTo>
                    <a:pt x="88" y="456"/>
                  </a:lnTo>
                  <a:lnTo>
                    <a:pt x="72" y="432"/>
                  </a:lnTo>
                  <a:lnTo>
                    <a:pt x="64" y="432"/>
                  </a:lnTo>
                  <a:lnTo>
                    <a:pt x="56" y="424"/>
                  </a:lnTo>
                  <a:lnTo>
                    <a:pt x="56" y="376"/>
                  </a:lnTo>
                  <a:lnTo>
                    <a:pt x="48" y="344"/>
                  </a:lnTo>
                  <a:lnTo>
                    <a:pt x="48" y="352"/>
                  </a:lnTo>
                  <a:lnTo>
                    <a:pt x="40" y="344"/>
                  </a:lnTo>
                  <a:lnTo>
                    <a:pt x="32" y="320"/>
                  </a:lnTo>
                  <a:lnTo>
                    <a:pt x="32" y="304"/>
                  </a:lnTo>
                  <a:lnTo>
                    <a:pt x="24" y="296"/>
                  </a:lnTo>
                  <a:lnTo>
                    <a:pt x="24" y="256"/>
                  </a:lnTo>
                  <a:lnTo>
                    <a:pt x="8" y="232"/>
                  </a:lnTo>
                  <a:lnTo>
                    <a:pt x="16" y="216"/>
                  </a:lnTo>
                  <a:lnTo>
                    <a:pt x="8" y="208"/>
                  </a:lnTo>
                  <a:lnTo>
                    <a:pt x="16" y="184"/>
                  </a:lnTo>
                  <a:lnTo>
                    <a:pt x="0" y="144"/>
                  </a:lnTo>
                  <a:lnTo>
                    <a:pt x="0" y="96"/>
                  </a:lnTo>
                  <a:lnTo>
                    <a:pt x="8" y="72"/>
                  </a:lnTo>
                  <a:lnTo>
                    <a:pt x="0" y="40"/>
                  </a:lnTo>
                  <a:lnTo>
                    <a:pt x="16" y="32"/>
                  </a:lnTo>
                  <a:lnTo>
                    <a:pt x="16" y="16"/>
                  </a:lnTo>
                  <a:lnTo>
                    <a:pt x="32" y="0"/>
                  </a:lnTo>
                  <a:lnTo>
                    <a:pt x="56" y="8"/>
                  </a:lnTo>
                  <a:lnTo>
                    <a:pt x="72" y="8"/>
                  </a:lnTo>
                  <a:lnTo>
                    <a:pt x="104" y="32"/>
                  </a:lnTo>
                  <a:lnTo>
                    <a:pt x="120" y="40"/>
                  </a:lnTo>
                  <a:lnTo>
                    <a:pt x="144" y="48"/>
                  </a:lnTo>
                  <a:lnTo>
                    <a:pt x="144" y="64"/>
                  </a:lnTo>
                  <a:lnTo>
                    <a:pt x="136" y="80"/>
                  </a:lnTo>
                  <a:lnTo>
                    <a:pt x="168" y="88"/>
                  </a:lnTo>
                  <a:lnTo>
                    <a:pt x="176" y="88"/>
                  </a:lnTo>
                  <a:lnTo>
                    <a:pt x="184" y="72"/>
                  </a:lnTo>
                  <a:lnTo>
                    <a:pt x="184" y="56"/>
                  </a:lnTo>
                  <a:lnTo>
                    <a:pt x="192" y="56"/>
                  </a:lnTo>
                  <a:lnTo>
                    <a:pt x="200" y="80"/>
                  </a:lnTo>
                  <a:lnTo>
                    <a:pt x="192" y="88"/>
                  </a:lnTo>
                  <a:lnTo>
                    <a:pt x="160" y="1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Freeform 170">
              <a:extLst>
                <a:ext uri="{FF2B5EF4-FFF2-40B4-BE49-F238E27FC236}">
                  <a16:creationId xmlns:a16="http://schemas.microsoft.com/office/drawing/2014/main" id="{3A4F01B3-7779-42D7-A257-E1283898264D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26990" y="3935604"/>
              <a:ext cx="174211" cy="249261"/>
            </a:xfrm>
            <a:custGeom>
              <a:avLst/>
              <a:gdLst>
                <a:gd name="T0" fmla="*/ 51792 w 64"/>
                <a:gd name="T1" fmla="*/ 0 h 104"/>
                <a:gd name="T2" fmla="*/ 17264 w 64"/>
                <a:gd name="T3" fmla="*/ 14776 h 104"/>
                <a:gd name="T4" fmla="*/ 17264 w 64"/>
                <a:gd name="T5" fmla="*/ 29552 h 104"/>
                <a:gd name="T6" fmla="*/ 34528 w 64"/>
                <a:gd name="T7" fmla="*/ 44328 h 104"/>
                <a:gd name="T8" fmla="*/ 17264 w 64"/>
                <a:gd name="T9" fmla="*/ 44328 h 104"/>
                <a:gd name="T10" fmla="*/ 0 w 64"/>
                <a:gd name="T11" fmla="*/ 73880 h 104"/>
                <a:gd name="T12" fmla="*/ 17264 w 64"/>
                <a:gd name="T13" fmla="*/ 88656 h 104"/>
                <a:gd name="T14" fmla="*/ 34528 w 64"/>
                <a:gd name="T15" fmla="*/ 88656 h 104"/>
                <a:gd name="T16" fmla="*/ 51792 w 64"/>
                <a:gd name="T17" fmla="*/ 118208 h 104"/>
                <a:gd name="T18" fmla="*/ 34528 w 64"/>
                <a:gd name="T19" fmla="*/ 162536 h 104"/>
                <a:gd name="T20" fmla="*/ 51792 w 64"/>
                <a:gd name="T21" fmla="*/ 192088 h 104"/>
                <a:gd name="T22" fmla="*/ 69057 w 64"/>
                <a:gd name="T23" fmla="*/ 192088 h 104"/>
                <a:gd name="T24" fmla="*/ 120849 w 64"/>
                <a:gd name="T25" fmla="*/ 177312 h 104"/>
                <a:gd name="T26" fmla="*/ 138113 w 64"/>
                <a:gd name="T27" fmla="*/ 177312 h 104"/>
                <a:gd name="T28" fmla="*/ 103585 w 64"/>
                <a:gd name="T29" fmla="*/ 118208 h 104"/>
                <a:gd name="T30" fmla="*/ 120849 w 64"/>
                <a:gd name="T31" fmla="*/ 73880 h 104"/>
                <a:gd name="T32" fmla="*/ 86321 w 64"/>
                <a:gd name="T33" fmla="*/ 44328 h 104"/>
                <a:gd name="T34" fmla="*/ 86321 w 64"/>
                <a:gd name="T35" fmla="*/ 14776 h 104"/>
                <a:gd name="T36" fmla="*/ 51792 w 64"/>
                <a:gd name="T37" fmla="*/ 0 h 10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4"/>
                <a:gd name="T58" fmla="*/ 0 h 104"/>
                <a:gd name="T59" fmla="*/ 64 w 64"/>
                <a:gd name="T60" fmla="*/ 104 h 10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4" h="104">
                  <a:moveTo>
                    <a:pt x="24" y="0"/>
                  </a:moveTo>
                  <a:lnTo>
                    <a:pt x="8" y="8"/>
                  </a:lnTo>
                  <a:lnTo>
                    <a:pt x="8" y="16"/>
                  </a:lnTo>
                  <a:lnTo>
                    <a:pt x="16" y="24"/>
                  </a:lnTo>
                  <a:lnTo>
                    <a:pt x="8" y="24"/>
                  </a:lnTo>
                  <a:lnTo>
                    <a:pt x="0" y="40"/>
                  </a:lnTo>
                  <a:lnTo>
                    <a:pt x="8" y="48"/>
                  </a:lnTo>
                  <a:lnTo>
                    <a:pt x="16" y="48"/>
                  </a:lnTo>
                  <a:lnTo>
                    <a:pt x="24" y="64"/>
                  </a:lnTo>
                  <a:lnTo>
                    <a:pt x="16" y="88"/>
                  </a:lnTo>
                  <a:lnTo>
                    <a:pt x="24" y="104"/>
                  </a:lnTo>
                  <a:lnTo>
                    <a:pt x="32" y="104"/>
                  </a:lnTo>
                  <a:lnTo>
                    <a:pt x="56" y="96"/>
                  </a:lnTo>
                  <a:lnTo>
                    <a:pt x="64" y="96"/>
                  </a:lnTo>
                  <a:lnTo>
                    <a:pt x="48" y="64"/>
                  </a:lnTo>
                  <a:lnTo>
                    <a:pt x="56" y="40"/>
                  </a:lnTo>
                  <a:lnTo>
                    <a:pt x="40" y="24"/>
                  </a:lnTo>
                  <a:lnTo>
                    <a:pt x="40" y="8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Freeform 171">
              <a:extLst>
                <a:ext uri="{FF2B5EF4-FFF2-40B4-BE49-F238E27FC236}">
                  <a16:creationId xmlns:a16="http://schemas.microsoft.com/office/drawing/2014/main" id="{BB321006-9A65-49B8-884A-31EE75E196F1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5977468" y="2250518"/>
              <a:ext cx="66081" cy="39141"/>
            </a:xfrm>
            <a:custGeom>
              <a:avLst/>
              <a:gdLst>
                <a:gd name="T0" fmla="*/ 17463 w 24"/>
                <a:gd name="T1" fmla="*/ 0 h 16"/>
                <a:gd name="T2" fmla="*/ 0 w 24"/>
                <a:gd name="T3" fmla="*/ 15082 h 16"/>
                <a:gd name="T4" fmla="*/ 17463 w 24"/>
                <a:gd name="T5" fmla="*/ 30163 h 16"/>
                <a:gd name="T6" fmla="*/ 52388 w 24"/>
                <a:gd name="T7" fmla="*/ 30163 h 16"/>
                <a:gd name="T8" fmla="*/ 52388 w 24"/>
                <a:gd name="T9" fmla="*/ 0 h 16"/>
                <a:gd name="T10" fmla="*/ 17463 w 24"/>
                <a:gd name="T11" fmla="*/ 0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16"/>
                <a:gd name="T20" fmla="*/ 24 w 24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16">
                  <a:moveTo>
                    <a:pt x="8" y="0"/>
                  </a:moveTo>
                  <a:lnTo>
                    <a:pt x="0" y="8"/>
                  </a:lnTo>
                  <a:lnTo>
                    <a:pt x="8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Freeform 172">
              <a:extLst>
                <a:ext uri="{FF2B5EF4-FFF2-40B4-BE49-F238E27FC236}">
                  <a16:creationId xmlns:a16="http://schemas.microsoft.com/office/drawing/2014/main" id="{441D1940-A07F-44DA-B537-ADA0D1B72FC4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6480077" y="2174298"/>
              <a:ext cx="86105" cy="94760"/>
            </a:xfrm>
            <a:custGeom>
              <a:avLst/>
              <a:gdLst>
                <a:gd name="T0" fmla="*/ 17066 w 32"/>
                <a:gd name="T1" fmla="*/ 73025 h 40"/>
                <a:gd name="T2" fmla="*/ 34132 w 32"/>
                <a:gd name="T3" fmla="*/ 73025 h 40"/>
                <a:gd name="T4" fmla="*/ 51197 w 32"/>
                <a:gd name="T5" fmla="*/ 43815 h 40"/>
                <a:gd name="T6" fmla="*/ 68263 w 32"/>
                <a:gd name="T7" fmla="*/ 29210 h 40"/>
                <a:gd name="T8" fmla="*/ 51197 w 32"/>
                <a:gd name="T9" fmla="*/ 29210 h 40"/>
                <a:gd name="T10" fmla="*/ 51197 w 32"/>
                <a:gd name="T11" fmla="*/ 0 h 40"/>
                <a:gd name="T12" fmla="*/ 17066 w 32"/>
                <a:gd name="T13" fmla="*/ 14605 h 40"/>
                <a:gd name="T14" fmla="*/ 0 w 32"/>
                <a:gd name="T15" fmla="*/ 29210 h 40"/>
                <a:gd name="T16" fmla="*/ 0 w 32"/>
                <a:gd name="T17" fmla="*/ 43815 h 40"/>
                <a:gd name="T18" fmla="*/ 17066 w 32"/>
                <a:gd name="T19" fmla="*/ 58420 h 40"/>
                <a:gd name="T20" fmla="*/ 17066 w 32"/>
                <a:gd name="T21" fmla="*/ 73025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40"/>
                <a:gd name="T35" fmla="*/ 32 w 32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40">
                  <a:moveTo>
                    <a:pt x="8" y="40"/>
                  </a:moveTo>
                  <a:lnTo>
                    <a:pt x="16" y="40"/>
                  </a:lnTo>
                  <a:lnTo>
                    <a:pt x="24" y="24"/>
                  </a:lnTo>
                  <a:lnTo>
                    <a:pt x="32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8" y="8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8" y="32"/>
                  </a:lnTo>
                  <a:lnTo>
                    <a:pt x="8" y="40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Freeform 173">
              <a:extLst>
                <a:ext uri="{FF2B5EF4-FFF2-40B4-BE49-F238E27FC236}">
                  <a16:creationId xmlns:a16="http://schemas.microsoft.com/office/drawing/2014/main" id="{115AB296-72A5-43B4-BF60-1E51C03CA9D2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6391970" y="2423559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0 h 8"/>
                <a:gd name="T4" fmla="*/ 17463 w 8"/>
                <a:gd name="T5" fmla="*/ 14288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Freeform 174">
              <a:extLst>
                <a:ext uri="{FF2B5EF4-FFF2-40B4-BE49-F238E27FC236}">
                  <a16:creationId xmlns:a16="http://schemas.microsoft.com/office/drawing/2014/main" id="{755DD27A-2E57-4151-A9CC-257E54072FEB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6391970" y="2423559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0 h 8"/>
                <a:gd name="T4" fmla="*/ 17463 w 8"/>
                <a:gd name="T5" fmla="*/ 14288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Freeform 175">
              <a:extLst>
                <a:ext uri="{FF2B5EF4-FFF2-40B4-BE49-F238E27FC236}">
                  <a16:creationId xmlns:a16="http://schemas.microsoft.com/office/drawing/2014/main" id="{62E708E1-002A-4779-B19F-F13CE13A79A3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6522127" y="2460639"/>
              <a:ext cx="240290" cy="96821"/>
            </a:xfrm>
            <a:custGeom>
              <a:avLst/>
              <a:gdLst>
                <a:gd name="T0" fmla="*/ 0 w 88"/>
                <a:gd name="T1" fmla="*/ 44768 h 40"/>
                <a:gd name="T2" fmla="*/ 0 w 88"/>
                <a:gd name="T3" fmla="*/ 59690 h 40"/>
                <a:gd name="T4" fmla="*/ 17318 w 88"/>
                <a:gd name="T5" fmla="*/ 59690 h 40"/>
                <a:gd name="T6" fmla="*/ 51955 w 88"/>
                <a:gd name="T7" fmla="*/ 59690 h 40"/>
                <a:gd name="T8" fmla="*/ 69273 w 88"/>
                <a:gd name="T9" fmla="*/ 59690 h 40"/>
                <a:gd name="T10" fmla="*/ 103909 w 88"/>
                <a:gd name="T11" fmla="*/ 74613 h 40"/>
                <a:gd name="T12" fmla="*/ 155864 w 88"/>
                <a:gd name="T13" fmla="*/ 59690 h 40"/>
                <a:gd name="T14" fmla="*/ 190500 w 88"/>
                <a:gd name="T15" fmla="*/ 29845 h 40"/>
                <a:gd name="T16" fmla="*/ 173182 w 88"/>
                <a:gd name="T17" fmla="*/ 14923 h 40"/>
                <a:gd name="T18" fmla="*/ 138545 w 88"/>
                <a:gd name="T19" fmla="*/ 0 h 40"/>
                <a:gd name="T20" fmla="*/ 121227 w 88"/>
                <a:gd name="T21" fmla="*/ 14923 h 40"/>
                <a:gd name="T22" fmla="*/ 103909 w 88"/>
                <a:gd name="T23" fmla="*/ 14923 h 40"/>
                <a:gd name="T24" fmla="*/ 69273 w 88"/>
                <a:gd name="T25" fmla="*/ 29845 h 40"/>
                <a:gd name="T26" fmla="*/ 86591 w 88"/>
                <a:gd name="T27" fmla="*/ 44768 h 40"/>
                <a:gd name="T28" fmla="*/ 0 w 88"/>
                <a:gd name="T29" fmla="*/ 44768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8"/>
                <a:gd name="T46" fmla="*/ 0 h 40"/>
                <a:gd name="T47" fmla="*/ 88 w 88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8" h="40">
                  <a:moveTo>
                    <a:pt x="0" y="24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24" y="32"/>
                  </a:lnTo>
                  <a:lnTo>
                    <a:pt x="32" y="32"/>
                  </a:lnTo>
                  <a:lnTo>
                    <a:pt x="48" y="40"/>
                  </a:lnTo>
                  <a:lnTo>
                    <a:pt x="72" y="32"/>
                  </a:lnTo>
                  <a:lnTo>
                    <a:pt x="88" y="16"/>
                  </a:lnTo>
                  <a:lnTo>
                    <a:pt x="80" y="8"/>
                  </a:lnTo>
                  <a:lnTo>
                    <a:pt x="64" y="0"/>
                  </a:lnTo>
                  <a:lnTo>
                    <a:pt x="56" y="8"/>
                  </a:lnTo>
                  <a:lnTo>
                    <a:pt x="48" y="8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Freeform 176">
              <a:extLst>
                <a:ext uri="{FF2B5EF4-FFF2-40B4-BE49-F238E27FC236}">
                  <a16:creationId xmlns:a16="http://schemas.microsoft.com/office/drawing/2014/main" id="{D6EB16FA-B3E1-4D78-9E7D-B366E575D35E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6391970" y="2518319"/>
              <a:ext cx="152184" cy="57680"/>
            </a:xfrm>
            <a:custGeom>
              <a:avLst/>
              <a:gdLst>
                <a:gd name="T0" fmla="*/ 34471 w 56"/>
                <a:gd name="T1" fmla="*/ 44450 h 24"/>
                <a:gd name="T2" fmla="*/ 17236 w 56"/>
                <a:gd name="T3" fmla="*/ 29633 h 24"/>
                <a:gd name="T4" fmla="*/ 17236 w 56"/>
                <a:gd name="T5" fmla="*/ 44450 h 24"/>
                <a:gd name="T6" fmla="*/ 0 w 56"/>
                <a:gd name="T7" fmla="*/ 29633 h 24"/>
                <a:gd name="T8" fmla="*/ 34471 w 56"/>
                <a:gd name="T9" fmla="*/ 0 h 24"/>
                <a:gd name="T10" fmla="*/ 51707 w 56"/>
                <a:gd name="T11" fmla="*/ 0 h 24"/>
                <a:gd name="T12" fmla="*/ 103414 w 56"/>
                <a:gd name="T13" fmla="*/ 0 h 24"/>
                <a:gd name="T14" fmla="*/ 103414 w 56"/>
                <a:gd name="T15" fmla="*/ 14817 h 24"/>
                <a:gd name="T16" fmla="*/ 120650 w 56"/>
                <a:gd name="T17" fmla="*/ 14817 h 24"/>
                <a:gd name="T18" fmla="*/ 103414 w 56"/>
                <a:gd name="T19" fmla="*/ 29633 h 24"/>
                <a:gd name="T20" fmla="*/ 86179 w 56"/>
                <a:gd name="T21" fmla="*/ 29633 h 24"/>
                <a:gd name="T22" fmla="*/ 86179 w 56"/>
                <a:gd name="T23" fmla="*/ 44450 h 24"/>
                <a:gd name="T24" fmla="*/ 68943 w 56"/>
                <a:gd name="T25" fmla="*/ 29633 h 24"/>
                <a:gd name="T26" fmla="*/ 34471 w 56"/>
                <a:gd name="T27" fmla="*/ 44450 h 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6"/>
                <a:gd name="T43" fmla="*/ 0 h 24"/>
                <a:gd name="T44" fmla="*/ 56 w 56"/>
                <a:gd name="T45" fmla="*/ 24 h 2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6" h="24">
                  <a:moveTo>
                    <a:pt x="16" y="24"/>
                  </a:moveTo>
                  <a:lnTo>
                    <a:pt x="8" y="16"/>
                  </a:lnTo>
                  <a:lnTo>
                    <a:pt x="8" y="24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48" y="0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24"/>
                  </a:lnTo>
                  <a:lnTo>
                    <a:pt x="32" y="16"/>
                  </a:lnTo>
                  <a:lnTo>
                    <a:pt x="16" y="24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Freeform 177">
              <a:extLst>
                <a:ext uri="{FF2B5EF4-FFF2-40B4-BE49-F238E27FC236}">
                  <a16:creationId xmlns:a16="http://schemas.microsoft.com/office/drawing/2014/main" id="{D725378F-1C4C-4FDA-9929-DD14C7E4AE63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6850524" y="2691360"/>
              <a:ext cx="44053" cy="113301"/>
            </a:xfrm>
            <a:custGeom>
              <a:avLst/>
              <a:gdLst>
                <a:gd name="T0" fmla="*/ 17463 w 16"/>
                <a:gd name="T1" fmla="*/ 29104 h 48"/>
                <a:gd name="T2" fmla="*/ 34925 w 16"/>
                <a:gd name="T3" fmla="*/ 58209 h 48"/>
                <a:gd name="T4" fmla="*/ 17463 w 16"/>
                <a:gd name="T5" fmla="*/ 87313 h 48"/>
                <a:gd name="T6" fmla="*/ 0 w 16"/>
                <a:gd name="T7" fmla="*/ 72761 h 48"/>
                <a:gd name="T8" fmla="*/ 0 w 16"/>
                <a:gd name="T9" fmla="*/ 29104 h 48"/>
                <a:gd name="T10" fmla="*/ 0 w 16"/>
                <a:gd name="T11" fmla="*/ 0 h 48"/>
                <a:gd name="T12" fmla="*/ 17463 w 16"/>
                <a:gd name="T13" fmla="*/ 0 h 48"/>
                <a:gd name="T14" fmla="*/ 17463 w 16"/>
                <a:gd name="T15" fmla="*/ 29104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48"/>
                <a:gd name="T26" fmla="*/ 16 w 16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48">
                  <a:moveTo>
                    <a:pt x="8" y="16"/>
                  </a:moveTo>
                  <a:lnTo>
                    <a:pt x="16" y="32"/>
                  </a:lnTo>
                  <a:lnTo>
                    <a:pt x="8" y="48"/>
                  </a:lnTo>
                  <a:lnTo>
                    <a:pt x="0" y="40"/>
                  </a:lnTo>
                  <a:lnTo>
                    <a:pt x="0" y="16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4" name="Freeform 178">
              <a:extLst>
                <a:ext uri="{FF2B5EF4-FFF2-40B4-BE49-F238E27FC236}">
                  <a16:creationId xmlns:a16="http://schemas.microsoft.com/office/drawing/2014/main" id="{5AD36EF8-F6BA-4CD1-9EDF-04524DAC8A67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6718364" y="2479179"/>
              <a:ext cx="218264" cy="96821"/>
            </a:xfrm>
            <a:custGeom>
              <a:avLst/>
              <a:gdLst>
                <a:gd name="T0" fmla="*/ 17304 w 80"/>
                <a:gd name="T1" fmla="*/ 59690 h 40"/>
                <a:gd name="T2" fmla="*/ 51911 w 80"/>
                <a:gd name="T3" fmla="*/ 74613 h 40"/>
                <a:gd name="T4" fmla="*/ 121127 w 80"/>
                <a:gd name="T5" fmla="*/ 74613 h 40"/>
                <a:gd name="T6" fmla="*/ 138430 w 80"/>
                <a:gd name="T7" fmla="*/ 59690 h 40"/>
                <a:gd name="T8" fmla="*/ 155734 w 80"/>
                <a:gd name="T9" fmla="*/ 29845 h 40"/>
                <a:gd name="T10" fmla="*/ 173038 w 80"/>
                <a:gd name="T11" fmla="*/ 14923 h 40"/>
                <a:gd name="T12" fmla="*/ 155734 w 80"/>
                <a:gd name="T13" fmla="*/ 14923 h 40"/>
                <a:gd name="T14" fmla="*/ 155734 w 80"/>
                <a:gd name="T15" fmla="*/ 0 h 40"/>
                <a:gd name="T16" fmla="*/ 121127 w 80"/>
                <a:gd name="T17" fmla="*/ 0 h 40"/>
                <a:gd name="T18" fmla="*/ 69215 w 80"/>
                <a:gd name="T19" fmla="*/ 29845 h 40"/>
                <a:gd name="T20" fmla="*/ 34608 w 80"/>
                <a:gd name="T21" fmla="*/ 14923 h 40"/>
                <a:gd name="T22" fmla="*/ 0 w 80"/>
                <a:gd name="T23" fmla="*/ 44768 h 40"/>
                <a:gd name="T24" fmla="*/ 17304 w 80"/>
                <a:gd name="T25" fmla="*/ 59690 h 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"/>
                <a:gd name="T40" fmla="*/ 0 h 40"/>
                <a:gd name="T41" fmla="*/ 80 w 80"/>
                <a:gd name="T42" fmla="*/ 40 h 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" h="40">
                  <a:moveTo>
                    <a:pt x="8" y="32"/>
                  </a:moveTo>
                  <a:lnTo>
                    <a:pt x="24" y="40"/>
                  </a:lnTo>
                  <a:lnTo>
                    <a:pt x="56" y="40"/>
                  </a:lnTo>
                  <a:lnTo>
                    <a:pt x="64" y="32"/>
                  </a:lnTo>
                  <a:lnTo>
                    <a:pt x="72" y="16"/>
                  </a:lnTo>
                  <a:lnTo>
                    <a:pt x="80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56" y="0"/>
                  </a:lnTo>
                  <a:lnTo>
                    <a:pt x="32" y="16"/>
                  </a:lnTo>
                  <a:lnTo>
                    <a:pt x="16" y="8"/>
                  </a:lnTo>
                  <a:lnTo>
                    <a:pt x="0" y="24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Freeform 179">
              <a:extLst>
                <a:ext uri="{FF2B5EF4-FFF2-40B4-BE49-F238E27FC236}">
                  <a16:creationId xmlns:a16="http://schemas.microsoft.com/office/drawing/2014/main" id="{2265CBB2-EAA2-411F-81C3-A958060496AD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7809684" y="3150741"/>
              <a:ext cx="66081" cy="57680"/>
            </a:xfrm>
            <a:custGeom>
              <a:avLst/>
              <a:gdLst>
                <a:gd name="T0" fmla="*/ 0 w 24"/>
                <a:gd name="T1" fmla="*/ 29633 h 24"/>
                <a:gd name="T2" fmla="*/ 17463 w 24"/>
                <a:gd name="T3" fmla="*/ 0 h 24"/>
                <a:gd name="T4" fmla="*/ 52388 w 24"/>
                <a:gd name="T5" fmla="*/ 0 h 24"/>
                <a:gd name="T6" fmla="*/ 52388 w 24"/>
                <a:gd name="T7" fmla="*/ 14817 h 24"/>
                <a:gd name="T8" fmla="*/ 34925 w 24"/>
                <a:gd name="T9" fmla="*/ 14817 h 24"/>
                <a:gd name="T10" fmla="*/ 52388 w 24"/>
                <a:gd name="T11" fmla="*/ 44450 h 24"/>
                <a:gd name="T12" fmla="*/ 0 w 24"/>
                <a:gd name="T13" fmla="*/ 29633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4"/>
                <a:gd name="T23" fmla="*/ 24 w 2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4">
                  <a:moveTo>
                    <a:pt x="0" y="16"/>
                  </a:moveTo>
                  <a:lnTo>
                    <a:pt x="8" y="0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16" y="8"/>
                  </a:lnTo>
                  <a:lnTo>
                    <a:pt x="24" y="2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Freeform 181">
              <a:extLst>
                <a:ext uri="{FF2B5EF4-FFF2-40B4-BE49-F238E27FC236}">
                  <a16:creationId xmlns:a16="http://schemas.microsoft.com/office/drawing/2014/main" id="{3FE55930-C53C-41B8-B870-78C86D1F4971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5715152" y="2938561"/>
              <a:ext cx="414502" cy="288401"/>
            </a:xfrm>
            <a:custGeom>
              <a:avLst/>
              <a:gdLst>
                <a:gd name="T0" fmla="*/ 328613 w 152"/>
                <a:gd name="T1" fmla="*/ 29633 h 120"/>
                <a:gd name="T2" fmla="*/ 328613 w 152"/>
                <a:gd name="T3" fmla="*/ 103717 h 120"/>
                <a:gd name="T4" fmla="*/ 259431 w 152"/>
                <a:gd name="T5" fmla="*/ 118533 h 120"/>
                <a:gd name="T6" fmla="*/ 259431 w 152"/>
                <a:gd name="T7" fmla="*/ 133350 h 120"/>
                <a:gd name="T8" fmla="*/ 224840 w 152"/>
                <a:gd name="T9" fmla="*/ 162983 h 120"/>
                <a:gd name="T10" fmla="*/ 138363 w 152"/>
                <a:gd name="T11" fmla="*/ 177800 h 120"/>
                <a:gd name="T12" fmla="*/ 121068 w 152"/>
                <a:gd name="T13" fmla="*/ 192617 h 120"/>
                <a:gd name="T14" fmla="*/ 121068 w 152"/>
                <a:gd name="T15" fmla="*/ 222250 h 120"/>
                <a:gd name="T16" fmla="*/ 0 w 152"/>
                <a:gd name="T17" fmla="*/ 222250 h 120"/>
                <a:gd name="T18" fmla="*/ 51886 w 152"/>
                <a:gd name="T19" fmla="*/ 207433 h 120"/>
                <a:gd name="T20" fmla="*/ 86477 w 152"/>
                <a:gd name="T21" fmla="*/ 177800 h 120"/>
                <a:gd name="T22" fmla="*/ 103773 w 152"/>
                <a:gd name="T23" fmla="*/ 148167 h 120"/>
                <a:gd name="T24" fmla="*/ 103773 w 152"/>
                <a:gd name="T25" fmla="*/ 118533 h 120"/>
                <a:gd name="T26" fmla="*/ 121068 w 152"/>
                <a:gd name="T27" fmla="*/ 88900 h 120"/>
                <a:gd name="T28" fmla="*/ 138363 w 152"/>
                <a:gd name="T29" fmla="*/ 74083 h 120"/>
                <a:gd name="T30" fmla="*/ 190250 w 152"/>
                <a:gd name="T31" fmla="*/ 44450 h 120"/>
                <a:gd name="T32" fmla="*/ 207545 w 152"/>
                <a:gd name="T33" fmla="*/ 0 h 120"/>
                <a:gd name="T34" fmla="*/ 224840 w 152"/>
                <a:gd name="T35" fmla="*/ 0 h 120"/>
                <a:gd name="T36" fmla="*/ 242136 w 152"/>
                <a:gd name="T37" fmla="*/ 14817 h 120"/>
                <a:gd name="T38" fmla="*/ 294022 w 152"/>
                <a:gd name="T39" fmla="*/ 14817 h 120"/>
                <a:gd name="T40" fmla="*/ 311318 w 152"/>
                <a:gd name="T41" fmla="*/ 14817 h 120"/>
                <a:gd name="T42" fmla="*/ 328613 w 152"/>
                <a:gd name="T43" fmla="*/ 29633 h 12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2"/>
                <a:gd name="T67" fmla="*/ 0 h 120"/>
                <a:gd name="T68" fmla="*/ 152 w 152"/>
                <a:gd name="T69" fmla="*/ 120 h 12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2" h="120">
                  <a:moveTo>
                    <a:pt x="152" y="16"/>
                  </a:moveTo>
                  <a:lnTo>
                    <a:pt x="152" y="56"/>
                  </a:lnTo>
                  <a:lnTo>
                    <a:pt x="120" y="64"/>
                  </a:lnTo>
                  <a:lnTo>
                    <a:pt x="120" y="72"/>
                  </a:lnTo>
                  <a:lnTo>
                    <a:pt x="104" y="88"/>
                  </a:lnTo>
                  <a:lnTo>
                    <a:pt x="64" y="96"/>
                  </a:lnTo>
                  <a:lnTo>
                    <a:pt x="56" y="104"/>
                  </a:lnTo>
                  <a:lnTo>
                    <a:pt x="56" y="120"/>
                  </a:lnTo>
                  <a:lnTo>
                    <a:pt x="0" y="120"/>
                  </a:lnTo>
                  <a:lnTo>
                    <a:pt x="24" y="112"/>
                  </a:lnTo>
                  <a:lnTo>
                    <a:pt x="40" y="96"/>
                  </a:lnTo>
                  <a:lnTo>
                    <a:pt x="48" y="80"/>
                  </a:lnTo>
                  <a:lnTo>
                    <a:pt x="48" y="64"/>
                  </a:lnTo>
                  <a:lnTo>
                    <a:pt x="56" y="48"/>
                  </a:lnTo>
                  <a:lnTo>
                    <a:pt x="64" y="40"/>
                  </a:lnTo>
                  <a:lnTo>
                    <a:pt x="88" y="24"/>
                  </a:lnTo>
                  <a:lnTo>
                    <a:pt x="96" y="0"/>
                  </a:lnTo>
                  <a:lnTo>
                    <a:pt x="104" y="0"/>
                  </a:lnTo>
                  <a:lnTo>
                    <a:pt x="112" y="8"/>
                  </a:lnTo>
                  <a:lnTo>
                    <a:pt x="136" y="8"/>
                  </a:lnTo>
                  <a:lnTo>
                    <a:pt x="144" y="8"/>
                  </a:lnTo>
                  <a:lnTo>
                    <a:pt x="152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Freeform 182">
              <a:extLst>
                <a:ext uri="{FF2B5EF4-FFF2-40B4-BE49-F238E27FC236}">
                  <a16:creationId xmlns:a16="http://schemas.microsoft.com/office/drawing/2014/main" id="{DDE2A0DD-538B-415A-ACD4-C6AB07CF2CF7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7679526" y="3781103"/>
              <a:ext cx="64077" cy="57680"/>
            </a:xfrm>
            <a:custGeom>
              <a:avLst/>
              <a:gdLst>
                <a:gd name="T0" fmla="*/ 33867 w 24"/>
                <a:gd name="T1" fmla="*/ 29633 h 24"/>
                <a:gd name="T2" fmla="*/ 50800 w 24"/>
                <a:gd name="T3" fmla="*/ 14817 h 24"/>
                <a:gd name="T4" fmla="*/ 33867 w 24"/>
                <a:gd name="T5" fmla="*/ 0 h 24"/>
                <a:gd name="T6" fmla="*/ 16933 w 24"/>
                <a:gd name="T7" fmla="*/ 14817 h 24"/>
                <a:gd name="T8" fmla="*/ 0 w 24"/>
                <a:gd name="T9" fmla="*/ 44450 h 24"/>
                <a:gd name="T10" fmla="*/ 33867 w 24"/>
                <a:gd name="T11" fmla="*/ 44450 h 24"/>
                <a:gd name="T12" fmla="*/ 33867 w 24"/>
                <a:gd name="T13" fmla="*/ 29633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4"/>
                <a:gd name="T23" fmla="*/ 24 w 2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4">
                  <a:moveTo>
                    <a:pt x="16" y="16"/>
                  </a:moveTo>
                  <a:lnTo>
                    <a:pt x="24" y="8"/>
                  </a:lnTo>
                  <a:lnTo>
                    <a:pt x="16" y="0"/>
                  </a:lnTo>
                  <a:lnTo>
                    <a:pt x="8" y="8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16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8" name="Freeform 183">
              <a:extLst>
                <a:ext uri="{FF2B5EF4-FFF2-40B4-BE49-F238E27FC236}">
                  <a16:creationId xmlns:a16="http://schemas.microsoft.com/office/drawing/2014/main" id="{0CC0207E-D28A-47BD-BAF0-83FD7CF37465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7657500" y="3801703"/>
              <a:ext cx="370448" cy="496462"/>
            </a:xfrm>
            <a:custGeom>
              <a:avLst/>
              <a:gdLst>
                <a:gd name="T0" fmla="*/ 17276 w 136"/>
                <a:gd name="T1" fmla="*/ 220724 h 208"/>
                <a:gd name="T2" fmla="*/ 0 w 136"/>
                <a:gd name="T3" fmla="*/ 264869 h 208"/>
                <a:gd name="T4" fmla="*/ 0 w 136"/>
                <a:gd name="T5" fmla="*/ 353158 h 208"/>
                <a:gd name="T6" fmla="*/ 17276 w 136"/>
                <a:gd name="T7" fmla="*/ 382588 h 208"/>
                <a:gd name="T8" fmla="*/ 69103 w 136"/>
                <a:gd name="T9" fmla="*/ 323728 h 208"/>
                <a:gd name="T10" fmla="*/ 155482 w 136"/>
                <a:gd name="T11" fmla="*/ 264869 h 208"/>
                <a:gd name="T12" fmla="*/ 190033 w 136"/>
                <a:gd name="T13" fmla="*/ 220724 h 208"/>
                <a:gd name="T14" fmla="*/ 224585 w 136"/>
                <a:gd name="T15" fmla="*/ 176579 h 208"/>
                <a:gd name="T16" fmla="*/ 276412 w 136"/>
                <a:gd name="T17" fmla="*/ 44145 h 208"/>
                <a:gd name="T18" fmla="*/ 293688 w 136"/>
                <a:gd name="T19" fmla="*/ 14715 h 208"/>
                <a:gd name="T20" fmla="*/ 276412 w 136"/>
                <a:gd name="T21" fmla="*/ 0 h 208"/>
                <a:gd name="T22" fmla="*/ 259136 w 136"/>
                <a:gd name="T23" fmla="*/ 14715 h 208"/>
                <a:gd name="T24" fmla="*/ 224585 w 136"/>
                <a:gd name="T25" fmla="*/ 29430 h 208"/>
                <a:gd name="T26" fmla="*/ 172758 w 136"/>
                <a:gd name="T27" fmla="*/ 29430 h 208"/>
                <a:gd name="T28" fmla="*/ 103655 w 136"/>
                <a:gd name="T29" fmla="*/ 44145 h 208"/>
                <a:gd name="T30" fmla="*/ 86379 w 136"/>
                <a:gd name="T31" fmla="*/ 44145 h 208"/>
                <a:gd name="T32" fmla="*/ 51827 w 136"/>
                <a:gd name="T33" fmla="*/ 14715 h 208"/>
                <a:gd name="T34" fmla="*/ 51827 w 136"/>
                <a:gd name="T35" fmla="*/ 29430 h 208"/>
                <a:gd name="T36" fmla="*/ 51827 w 136"/>
                <a:gd name="T37" fmla="*/ 44145 h 208"/>
                <a:gd name="T38" fmla="*/ 86379 w 136"/>
                <a:gd name="T39" fmla="*/ 88290 h 208"/>
                <a:gd name="T40" fmla="*/ 172758 w 136"/>
                <a:gd name="T41" fmla="*/ 117719 h 208"/>
                <a:gd name="T42" fmla="*/ 190033 w 136"/>
                <a:gd name="T43" fmla="*/ 117719 h 208"/>
                <a:gd name="T44" fmla="*/ 120930 w 136"/>
                <a:gd name="T45" fmla="*/ 191294 h 208"/>
                <a:gd name="T46" fmla="*/ 69103 w 136"/>
                <a:gd name="T47" fmla="*/ 206009 h 208"/>
                <a:gd name="T48" fmla="*/ 17276 w 136"/>
                <a:gd name="T49" fmla="*/ 220724 h 20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36"/>
                <a:gd name="T76" fmla="*/ 0 h 208"/>
                <a:gd name="T77" fmla="*/ 136 w 136"/>
                <a:gd name="T78" fmla="*/ 208 h 20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36" h="208">
                  <a:moveTo>
                    <a:pt x="8" y="120"/>
                  </a:moveTo>
                  <a:lnTo>
                    <a:pt x="0" y="144"/>
                  </a:lnTo>
                  <a:lnTo>
                    <a:pt x="0" y="192"/>
                  </a:lnTo>
                  <a:lnTo>
                    <a:pt x="8" y="208"/>
                  </a:lnTo>
                  <a:lnTo>
                    <a:pt x="32" y="176"/>
                  </a:lnTo>
                  <a:lnTo>
                    <a:pt x="72" y="144"/>
                  </a:lnTo>
                  <a:lnTo>
                    <a:pt x="88" y="120"/>
                  </a:lnTo>
                  <a:lnTo>
                    <a:pt x="104" y="96"/>
                  </a:lnTo>
                  <a:lnTo>
                    <a:pt x="128" y="24"/>
                  </a:lnTo>
                  <a:lnTo>
                    <a:pt x="136" y="8"/>
                  </a:lnTo>
                  <a:lnTo>
                    <a:pt x="128" y="0"/>
                  </a:lnTo>
                  <a:lnTo>
                    <a:pt x="120" y="8"/>
                  </a:lnTo>
                  <a:lnTo>
                    <a:pt x="104" y="16"/>
                  </a:lnTo>
                  <a:lnTo>
                    <a:pt x="80" y="16"/>
                  </a:lnTo>
                  <a:lnTo>
                    <a:pt x="48" y="24"/>
                  </a:lnTo>
                  <a:lnTo>
                    <a:pt x="40" y="24"/>
                  </a:lnTo>
                  <a:lnTo>
                    <a:pt x="24" y="8"/>
                  </a:lnTo>
                  <a:lnTo>
                    <a:pt x="24" y="16"/>
                  </a:lnTo>
                  <a:lnTo>
                    <a:pt x="24" y="24"/>
                  </a:lnTo>
                  <a:lnTo>
                    <a:pt x="40" y="48"/>
                  </a:lnTo>
                  <a:lnTo>
                    <a:pt x="80" y="64"/>
                  </a:lnTo>
                  <a:lnTo>
                    <a:pt x="88" y="64"/>
                  </a:lnTo>
                  <a:lnTo>
                    <a:pt x="56" y="104"/>
                  </a:lnTo>
                  <a:lnTo>
                    <a:pt x="32" y="112"/>
                  </a:lnTo>
                  <a:lnTo>
                    <a:pt x="8" y="1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Freeform 184">
              <a:extLst>
                <a:ext uri="{FF2B5EF4-FFF2-40B4-BE49-F238E27FC236}">
                  <a16:creationId xmlns:a16="http://schemas.microsoft.com/office/drawing/2014/main" id="{A3283433-ED23-411B-B1A2-AEE1E1637AA1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5562968" y="3725483"/>
              <a:ext cx="110134" cy="37080"/>
            </a:xfrm>
            <a:custGeom>
              <a:avLst/>
              <a:gdLst>
                <a:gd name="T0" fmla="*/ 0 w 40"/>
                <a:gd name="T1" fmla="*/ 28575 h 16"/>
                <a:gd name="T2" fmla="*/ 34925 w 40"/>
                <a:gd name="T3" fmla="*/ 14288 h 16"/>
                <a:gd name="T4" fmla="*/ 69850 w 40"/>
                <a:gd name="T5" fmla="*/ 28575 h 16"/>
                <a:gd name="T6" fmla="*/ 87313 w 40"/>
                <a:gd name="T7" fmla="*/ 14288 h 16"/>
                <a:gd name="T8" fmla="*/ 34925 w 40"/>
                <a:gd name="T9" fmla="*/ 0 h 16"/>
                <a:gd name="T10" fmla="*/ 0 w 40"/>
                <a:gd name="T11" fmla="*/ 14288 h 16"/>
                <a:gd name="T12" fmla="*/ 0 w 40"/>
                <a:gd name="T13" fmla="*/ 28575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16"/>
                <a:gd name="T23" fmla="*/ 40 w 40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16">
                  <a:moveTo>
                    <a:pt x="0" y="16"/>
                  </a:moveTo>
                  <a:lnTo>
                    <a:pt x="16" y="8"/>
                  </a:lnTo>
                  <a:lnTo>
                    <a:pt x="32" y="16"/>
                  </a:lnTo>
                  <a:lnTo>
                    <a:pt x="40" y="8"/>
                  </a:lnTo>
                  <a:lnTo>
                    <a:pt x="16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Freeform 185">
              <a:extLst>
                <a:ext uri="{FF2B5EF4-FFF2-40B4-BE49-F238E27FC236}">
                  <a16:creationId xmlns:a16="http://schemas.microsoft.com/office/drawing/2014/main" id="{42866E75-1C9B-4581-93DD-E4A12FE03CFB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5562968" y="3781103"/>
              <a:ext cx="110134" cy="57680"/>
            </a:xfrm>
            <a:custGeom>
              <a:avLst/>
              <a:gdLst>
                <a:gd name="T0" fmla="*/ 87313 w 40"/>
                <a:gd name="T1" fmla="*/ 0 h 24"/>
                <a:gd name="T2" fmla="*/ 87313 w 40"/>
                <a:gd name="T3" fmla="*/ 29633 h 24"/>
                <a:gd name="T4" fmla="*/ 52388 w 40"/>
                <a:gd name="T5" fmla="*/ 29633 h 24"/>
                <a:gd name="T6" fmla="*/ 52388 w 40"/>
                <a:gd name="T7" fmla="*/ 44450 h 24"/>
                <a:gd name="T8" fmla="*/ 34925 w 40"/>
                <a:gd name="T9" fmla="*/ 44450 h 24"/>
                <a:gd name="T10" fmla="*/ 34925 w 40"/>
                <a:gd name="T11" fmla="*/ 14817 h 24"/>
                <a:gd name="T12" fmla="*/ 17463 w 40"/>
                <a:gd name="T13" fmla="*/ 14817 h 24"/>
                <a:gd name="T14" fmla="*/ 0 w 40"/>
                <a:gd name="T15" fmla="*/ 0 h 24"/>
                <a:gd name="T16" fmla="*/ 87313 w 4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24"/>
                <a:gd name="T29" fmla="*/ 40 w 4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24">
                  <a:moveTo>
                    <a:pt x="40" y="0"/>
                  </a:moveTo>
                  <a:lnTo>
                    <a:pt x="40" y="16"/>
                  </a:lnTo>
                  <a:lnTo>
                    <a:pt x="24" y="16"/>
                  </a:lnTo>
                  <a:lnTo>
                    <a:pt x="24" y="24"/>
                  </a:lnTo>
                  <a:lnTo>
                    <a:pt x="16" y="24"/>
                  </a:lnTo>
                  <a:lnTo>
                    <a:pt x="16" y="8"/>
                  </a:lnTo>
                  <a:lnTo>
                    <a:pt x="8" y="8"/>
                  </a:lnTo>
                  <a:lnTo>
                    <a:pt x="0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Freeform 186">
              <a:extLst>
                <a:ext uri="{FF2B5EF4-FFF2-40B4-BE49-F238E27FC236}">
                  <a16:creationId xmlns:a16="http://schemas.microsoft.com/office/drawing/2014/main" id="{C33BC996-74A0-4D5A-B65D-ADC954665A68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5673100" y="3877924"/>
              <a:ext cx="108131" cy="115360"/>
            </a:xfrm>
            <a:custGeom>
              <a:avLst/>
              <a:gdLst>
                <a:gd name="T0" fmla="*/ 0 w 40"/>
                <a:gd name="T1" fmla="*/ 14817 h 48"/>
                <a:gd name="T2" fmla="*/ 17145 w 40"/>
                <a:gd name="T3" fmla="*/ 59267 h 48"/>
                <a:gd name="T4" fmla="*/ 51435 w 40"/>
                <a:gd name="T5" fmla="*/ 88900 h 48"/>
                <a:gd name="T6" fmla="*/ 85725 w 40"/>
                <a:gd name="T7" fmla="*/ 44450 h 48"/>
                <a:gd name="T8" fmla="*/ 85725 w 40"/>
                <a:gd name="T9" fmla="*/ 29633 h 48"/>
                <a:gd name="T10" fmla="*/ 68580 w 40"/>
                <a:gd name="T11" fmla="*/ 0 h 48"/>
                <a:gd name="T12" fmla="*/ 34290 w 40"/>
                <a:gd name="T13" fmla="*/ 0 h 48"/>
                <a:gd name="T14" fmla="*/ 0 w 40"/>
                <a:gd name="T15" fmla="*/ 14817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0"/>
                <a:gd name="T25" fmla="*/ 0 h 48"/>
                <a:gd name="T26" fmla="*/ 40 w 40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0" h="48">
                  <a:moveTo>
                    <a:pt x="0" y="8"/>
                  </a:moveTo>
                  <a:lnTo>
                    <a:pt x="8" y="32"/>
                  </a:lnTo>
                  <a:lnTo>
                    <a:pt x="24" y="48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2" name="Freeform 187">
              <a:extLst>
                <a:ext uri="{FF2B5EF4-FFF2-40B4-BE49-F238E27FC236}">
                  <a16:creationId xmlns:a16="http://schemas.microsoft.com/office/drawing/2014/main" id="{0B2B64AF-9656-4917-B5BD-F4AFA6A11E73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7220972" y="4318765"/>
              <a:ext cx="66081" cy="76221"/>
            </a:xfrm>
            <a:custGeom>
              <a:avLst/>
              <a:gdLst>
                <a:gd name="T0" fmla="*/ 0 w 24"/>
                <a:gd name="T1" fmla="*/ 14685 h 32"/>
                <a:gd name="T2" fmla="*/ 52388 w 24"/>
                <a:gd name="T3" fmla="*/ 0 h 32"/>
                <a:gd name="T4" fmla="*/ 52388 w 24"/>
                <a:gd name="T5" fmla="*/ 29369 h 32"/>
                <a:gd name="T6" fmla="*/ 17463 w 24"/>
                <a:gd name="T7" fmla="*/ 58738 h 32"/>
                <a:gd name="T8" fmla="*/ 17463 w 24"/>
                <a:gd name="T9" fmla="*/ 29369 h 32"/>
                <a:gd name="T10" fmla="*/ 0 w 24"/>
                <a:gd name="T11" fmla="*/ 14685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32"/>
                <a:gd name="T20" fmla="*/ 24 w 24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32">
                  <a:moveTo>
                    <a:pt x="0" y="8"/>
                  </a:moveTo>
                  <a:lnTo>
                    <a:pt x="24" y="0"/>
                  </a:lnTo>
                  <a:lnTo>
                    <a:pt x="24" y="16"/>
                  </a:lnTo>
                  <a:lnTo>
                    <a:pt x="8" y="32"/>
                  </a:lnTo>
                  <a:lnTo>
                    <a:pt x="8" y="1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3" name="Freeform 188">
              <a:extLst>
                <a:ext uri="{FF2B5EF4-FFF2-40B4-BE49-F238E27FC236}">
                  <a16:creationId xmlns:a16="http://schemas.microsoft.com/office/drawing/2014/main" id="{A6AABD78-4699-4A7B-8B91-0988C2DFE075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7220972" y="4279625"/>
              <a:ext cx="66081" cy="57680"/>
            </a:xfrm>
            <a:custGeom>
              <a:avLst/>
              <a:gdLst>
                <a:gd name="T0" fmla="*/ 52388 w 24"/>
                <a:gd name="T1" fmla="*/ 29633 h 24"/>
                <a:gd name="T2" fmla="*/ 0 w 24"/>
                <a:gd name="T3" fmla="*/ 44450 h 24"/>
                <a:gd name="T4" fmla="*/ 0 w 24"/>
                <a:gd name="T5" fmla="*/ 29633 h 24"/>
                <a:gd name="T6" fmla="*/ 17463 w 24"/>
                <a:gd name="T7" fmla="*/ 0 h 24"/>
                <a:gd name="T8" fmla="*/ 34925 w 24"/>
                <a:gd name="T9" fmla="*/ 0 h 24"/>
                <a:gd name="T10" fmla="*/ 52388 w 24"/>
                <a:gd name="T11" fmla="*/ 14817 h 24"/>
                <a:gd name="T12" fmla="*/ 52388 w 24"/>
                <a:gd name="T13" fmla="*/ 29633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4"/>
                <a:gd name="T23" fmla="*/ 24 w 2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4">
                  <a:moveTo>
                    <a:pt x="24" y="16"/>
                  </a:moveTo>
                  <a:lnTo>
                    <a:pt x="0" y="24"/>
                  </a:lnTo>
                  <a:lnTo>
                    <a:pt x="0" y="16"/>
                  </a:lnTo>
                  <a:lnTo>
                    <a:pt x="8" y="0"/>
                  </a:lnTo>
                  <a:lnTo>
                    <a:pt x="16" y="0"/>
                  </a:lnTo>
                  <a:lnTo>
                    <a:pt x="24" y="8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Freeform 189">
              <a:extLst>
                <a:ext uri="{FF2B5EF4-FFF2-40B4-BE49-F238E27FC236}">
                  <a16:creationId xmlns:a16="http://schemas.microsoft.com/office/drawing/2014/main" id="{D2FA1D59-E729-47C6-946E-12D9C8942E4D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7265025" y="5179848"/>
              <a:ext cx="44053" cy="37080"/>
            </a:xfrm>
            <a:custGeom>
              <a:avLst/>
              <a:gdLst>
                <a:gd name="T0" fmla="*/ 34925 w 16"/>
                <a:gd name="T1" fmla="*/ 14288 h 16"/>
                <a:gd name="T2" fmla="*/ 34925 w 16"/>
                <a:gd name="T3" fmla="*/ 0 h 16"/>
                <a:gd name="T4" fmla="*/ 17463 w 16"/>
                <a:gd name="T5" fmla="*/ 0 h 16"/>
                <a:gd name="T6" fmla="*/ 0 w 16"/>
                <a:gd name="T7" fmla="*/ 28575 h 16"/>
                <a:gd name="T8" fmla="*/ 17463 w 16"/>
                <a:gd name="T9" fmla="*/ 28575 h 16"/>
                <a:gd name="T10" fmla="*/ 34925 w 16"/>
                <a:gd name="T11" fmla="*/ 14288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16"/>
                <a:gd name="T20" fmla="*/ 16 w 16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16">
                  <a:moveTo>
                    <a:pt x="16" y="8"/>
                  </a:moveTo>
                  <a:lnTo>
                    <a:pt x="16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8" y="16"/>
                  </a:lnTo>
                  <a:lnTo>
                    <a:pt x="16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Freeform 190">
              <a:extLst>
                <a:ext uri="{FF2B5EF4-FFF2-40B4-BE49-F238E27FC236}">
                  <a16:creationId xmlns:a16="http://schemas.microsoft.com/office/drawing/2014/main" id="{44CADD25-7C8B-4A0C-A839-4698E13D4E73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6872551" y="4891447"/>
              <a:ext cx="348421" cy="325481"/>
            </a:xfrm>
            <a:custGeom>
              <a:avLst/>
              <a:gdLst>
                <a:gd name="T0" fmla="*/ 155377 w 128"/>
                <a:gd name="T1" fmla="*/ 0 h 136"/>
                <a:gd name="T2" fmla="*/ 189905 w 128"/>
                <a:gd name="T3" fmla="*/ 44263 h 136"/>
                <a:gd name="T4" fmla="*/ 224433 w 128"/>
                <a:gd name="T5" fmla="*/ 73772 h 136"/>
                <a:gd name="T6" fmla="*/ 241697 w 128"/>
                <a:gd name="T7" fmla="*/ 103281 h 136"/>
                <a:gd name="T8" fmla="*/ 276225 w 128"/>
                <a:gd name="T9" fmla="*/ 118035 h 136"/>
                <a:gd name="T10" fmla="*/ 224433 w 128"/>
                <a:gd name="T11" fmla="*/ 147544 h 136"/>
                <a:gd name="T12" fmla="*/ 155377 w 128"/>
                <a:gd name="T13" fmla="*/ 206562 h 136"/>
                <a:gd name="T14" fmla="*/ 138113 w 128"/>
                <a:gd name="T15" fmla="*/ 206562 h 136"/>
                <a:gd name="T16" fmla="*/ 103584 w 128"/>
                <a:gd name="T17" fmla="*/ 206562 h 136"/>
                <a:gd name="T18" fmla="*/ 69056 w 128"/>
                <a:gd name="T19" fmla="*/ 236071 h 136"/>
                <a:gd name="T20" fmla="*/ 34528 w 128"/>
                <a:gd name="T21" fmla="*/ 250825 h 136"/>
                <a:gd name="T22" fmla="*/ 17264 w 128"/>
                <a:gd name="T23" fmla="*/ 236071 h 136"/>
                <a:gd name="T24" fmla="*/ 34528 w 128"/>
                <a:gd name="T25" fmla="*/ 206562 h 136"/>
                <a:gd name="T26" fmla="*/ 0 w 128"/>
                <a:gd name="T27" fmla="*/ 191807 h 136"/>
                <a:gd name="T28" fmla="*/ 0 w 128"/>
                <a:gd name="T29" fmla="*/ 118035 h 136"/>
                <a:gd name="T30" fmla="*/ 34528 w 128"/>
                <a:gd name="T31" fmla="*/ 103281 h 136"/>
                <a:gd name="T32" fmla="*/ 34528 w 128"/>
                <a:gd name="T33" fmla="*/ 14754 h 136"/>
                <a:gd name="T34" fmla="*/ 103584 w 128"/>
                <a:gd name="T35" fmla="*/ 0 h 136"/>
                <a:gd name="T36" fmla="*/ 103584 w 128"/>
                <a:gd name="T37" fmla="*/ 14754 h 136"/>
                <a:gd name="T38" fmla="*/ 120848 w 128"/>
                <a:gd name="T39" fmla="*/ 0 h 136"/>
                <a:gd name="T40" fmla="*/ 155377 w 128"/>
                <a:gd name="T41" fmla="*/ 0 h 1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8"/>
                <a:gd name="T64" fmla="*/ 0 h 136"/>
                <a:gd name="T65" fmla="*/ 128 w 128"/>
                <a:gd name="T66" fmla="*/ 136 h 1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8" h="136">
                  <a:moveTo>
                    <a:pt x="72" y="0"/>
                  </a:moveTo>
                  <a:lnTo>
                    <a:pt x="88" y="24"/>
                  </a:lnTo>
                  <a:lnTo>
                    <a:pt x="104" y="40"/>
                  </a:lnTo>
                  <a:lnTo>
                    <a:pt x="112" y="56"/>
                  </a:lnTo>
                  <a:lnTo>
                    <a:pt x="128" y="64"/>
                  </a:lnTo>
                  <a:lnTo>
                    <a:pt x="104" y="80"/>
                  </a:lnTo>
                  <a:lnTo>
                    <a:pt x="72" y="112"/>
                  </a:lnTo>
                  <a:lnTo>
                    <a:pt x="64" y="112"/>
                  </a:lnTo>
                  <a:lnTo>
                    <a:pt x="48" y="112"/>
                  </a:lnTo>
                  <a:lnTo>
                    <a:pt x="32" y="128"/>
                  </a:lnTo>
                  <a:lnTo>
                    <a:pt x="16" y="136"/>
                  </a:lnTo>
                  <a:lnTo>
                    <a:pt x="8" y="128"/>
                  </a:lnTo>
                  <a:lnTo>
                    <a:pt x="16" y="112"/>
                  </a:lnTo>
                  <a:lnTo>
                    <a:pt x="0" y="104"/>
                  </a:lnTo>
                  <a:lnTo>
                    <a:pt x="0" y="64"/>
                  </a:lnTo>
                  <a:lnTo>
                    <a:pt x="16" y="56"/>
                  </a:lnTo>
                  <a:lnTo>
                    <a:pt x="16" y="8"/>
                  </a:lnTo>
                  <a:lnTo>
                    <a:pt x="48" y="0"/>
                  </a:lnTo>
                  <a:lnTo>
                    <a:pt x="48" y="8"/>
                  </a:lnTo>
                  <a:lnTo>
                    <a:pt x="56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Freeform 191">
              <a:extLst>
                <a:ext uri="{FF2B5EF4-FFF2-40B4-BE49-F238E27FC236}">
                  <a16:creationId xmlns:a16="http://schemas.microsoft.com/office/drawing/2014/main" id="{4BEF9996-30D1-4553-932A-3F6C3773A35C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730753" y="5754589"/>
              <a:ext cx="44053" cy="57680"/>
            </a:xfrm>
            <a:custGeom>
              <a:avLst/>
              <a:gdLst>
                <a:gd name="T0" fmla="*/ 0 w 16"/>
                <a:gd name="T1" fmla="*/ 0 h 24"/>
                <a:gd name="T2" fmla="*/ 17463 w 16"/>
                <a:gd name="T3" fmla="*/ 44450 h 24"/>
                <a:gd name="T4" fmla="*/ 34925 w 16"/>
                <a:gd name="T5" fmla="*/ 44450 h 24"/>
                <a:gd name="T6" fmla="*/ 34925 w 16"/>
                <a:gd name="T7" fmla="*/ 14817 h 24"/>
                <a:gd name="T8" fmla="*/ 0 w 1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24"/>
                <a:gd name="T17" fmla="*/ 16 w 1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24">
                  <a:moveTo>
                    <a:pt x="0" y="0"/>
                  </a:moveTo>
                  <a:lnTo>
                    <a:pt x="8" y="24"/>
                  </a:lnTo>
                  <a:lnTo>
                    <a:pt x="16" y="24"/>
                  </a:lnTo>
                  <a:lnTo>
                    <a:pt x="16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7" name="Freeform 192">
              <a:extLst>
                <a:ext uri="{FF2B5EF4-FFF2-40B4-BE49-F238E27FC236}">
                  <a16:creationId xmlns:a16="http://schemas.microsoft.com/office/drawing/2014/main" id="{5B5EFC6C-76DC-426A-993D-B58FF4E06CA5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4319464" y="6098611"/>
              <a:ext cx="88106" cy="18541"/>
            </a:xfrm>
            <a:custGeom>
              <a:avLst/>
              <a:gdLst>
                <a:gd name="T0" fmla="*/ 0 w 32"/>
                <a:gd name="T1" fmla="*/ 0 h 8"/>
                <a:gd name="T2" fmla="*/ 34925 w 32"/>
                <a:gd name="T3" fmla="*/ 14288 h 8"/>
                <a:gd name="T4" fmla="*/ 69850 w 32"/>
                <a:gd name="T5" fmla="*/ 0 h 8"/>
                <a:gd name="T6" fmla="*/ 52387 w 32"/>
                <a:gd name="T7" fmla="*/ 0 h 8"/>
                <a:gd name="T8" fmla="*/ 17463 w 32"/>
                <a:gd name="T9" fmla="*/ 0 h 8"/>
                <a:gd name="T10" fmla="*/ 0 w 32"/>
                <a:gd name="T11" fmla="*/ 0 h 8"/>
                <a:gd name="T12" fmla="*/ 17463 w 32"/>
                <a:gd name="T13" fmla="*/ 0 h 8"/>
                <a:gd name="T14" fmla="*/ 17463 w 32"/>
                <a:gd name="T15" fmla="*/ 14288 h 8"/>
                <a:gd name="T16" fmla="*/ 0 w 32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8"/>
                <a:gd name="T29" fmla="*/ 32 w 32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8">
                  <a:moveTo>
                    <a:pt x="0" y="0"/>
                  </a:moveTo>
                  <a:lnTo>
                    <a:pt x="16" y="8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193">
              <a:extLst>
                <a:ext uri="{FF2B5EF4-FFF2-40B4-BE49-F238E27FC236}">
                  <a16:creationId xmlns:a16="http://schemas.microsoft.com/office/drawing/2014/main" id="{9EFC125B-F792-48C2-B043-65A4BD69CAFF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926990" y="3838783"/>
              <a:ext cx="22027" cy="39141"/>
            </a:xfrm>
            <a:custGeom>
              <a:avLst/>
              <a:gdLst>
                <a:gd name="T0" fmla="*/ 0 w 8"/>
                <a:gd name="T1" fmla="*/ 30163 h 16"/>
                <a:gd name="T2" fmla="*/ 17463 w 8"/>
                <a:gd name="T3" fmla="*/ 30163 h 16"/>
                <a:gd name="T4" fmla="*/ 17463 w 8"/>
                <a:gd name="T5" fmla="*/ 0 h 16"/>
                <a:gd name="T6" fmla="*/ 0 w 8"/>
                <a:gd name="T7" fmla="*/ 15082 h 16"/>
                <a:gd name="T8" fmla="*/ 0 w 8"/>
                <a:gd name="T9" fmla="*/ 3016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6"/>
                <a:gd name="T17" fmla="*/ 8 w 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6">
                  <a:moveTo>
                    <a:pt x="0" y="16"/>
                  </a:moveTo>
                  <a:lnTo>
                    <a:pt x="8" y="16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194">
              <a:extLst>
                <a:ext uri="{FF2B5EF4-FFF2-40B4-BE49-F238E27FC236}">
                  <a16:creationId xmlns:a16="http://schemas.microsoft.com/office/drawing/2014/main" id="{25BFBF55-2D89-4940-8440-979740B954E4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360306" y="3570982"/>
              <a:ext cx="66081" cy="18541"/>
            </a:xfrm>
            <a:custGeom>
              <a:avLst/>
              <a:gdLst>
                <a:gd name="T0" fmla="*/ 0 w 24"/>
                <a:gd name="T1" fmla="*/ 0 h 8"/>
                <a:gd name="T2" fmla="*/ 17463 w 24"/>
                <a:gd name="T3" fmla="*/ 14288 h 8"/>
                <a:gd name="T4" fmla="*/ 52388 w 24"/>
                <a:gd name="T5" fmla="*/ 14288 h 8"/>
                <a:gd name="T6" fmla="*/ 52388 w 24"/>
                <a:gd name="T7" fmla="*/ 0 h 8"/>
                <a:gd name="T8" fmla="*/ 17463 w 24"/>
                <a:gd name="T9" fmla="*/ 0 h 8"/>
                <a:gd name="T10" fmla="*/ 0 w 24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8"/>
                <a:gd name="T20" fmla="*/ 24 w 2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8">
                  <a:moveTo>
                    <a:pt x="0" y="0"/>
                  </a:moveTo>
                  <a:lnTo>
                    <a:pt x="8" y="8"/>
                  </a:lnTo>
                  <a:lnTo>
                    <a:pt x="24" y="8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195">
              <a:extLst>
                <a:ext uri="{FF2B5EF4-FFF2-40B4-BE49-F238E27FC236}">
                  <a16:creationId xmlns:a16="http://schemas.microsoft.com/office/drawing/2014/main" id="{F6490BE2-99AD-44A1-B613-25393A515B74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3208122" y="3437082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196">
              <a:extLst>
                <a:ext uri="{FF2B5EF4-FFF2-40B4-BE49-F238E27FC236}">
                  <a16:creationId xmlns:a16="http://schemas.microsoft.com/office/drawing/2014/main" id="{73DA4BFA-D936-4EEA-B7EF-F56BA6DF4A98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3142041" y="3400002"/>
              <a:ext cx="370448" cy="113301"/>
            </a:xfrm>
            <a:custGeom>
              <a:avLst/>
              <a:gdLst>
                <a:gd name="T0" fmla="*/ 0 w 136"/>
                <a:gd name="T1" fmla="*/ 43657 h 48"/>
                <a:gd name="T2" fmla="*/ 17276 w 136"/>
                <a:gd name="T3" fmla="*/ 43657 h 48"/>
                <a:gd name="T4" fmla="*/ 69103 w 136"/>
                <a:gd name="T5" fmla="*/ 14552 h 48"/>
                <a:gd name="T6" fmla="*/ 103655 w 136"/>
                <a:gd name="T7" fmla="*/ 14552 h 48"/>
                <a:gd name="T8" fmla="*/ 86379 w 136"/>
                <a:gd name="T9" fmla="*/ 29104 h 48"/>
                <a:gd name="T10" fmla="*/ 172758 w 136"/>
                <a:gd name="T11" fmla="*/ 43657 h 48"/>
                <a:gd name="T12" fmla="*/ 190033 w 136"/>
                <a:gd name="T13" fmla="*/ 72761 h 48"/>
                <a:gd name="T14" fmla="*/ 207309 w 136"/>
                <a:gd name="T15" fmla="*/ 72761 h 48"/>
                <a:gd name="T16" fmla="*/ 190033 w 136"/>
                <a:gd name="T17" fmla="*/ 87313 h 48"/>
                <a:gd name="T18" fmla="*/ 293688 w 136"/>
                <a:gd name="T19" fmla="*/ 87313 h 48"/>
                <a:gd name="T20" fmla="*/ 276412 w 136"/>
                <a:gd name="T21" fmla="*/ 72761 h 48"/>
                <a:gd name="T22" fmla="*/ 259136 w 136"/>
                <a:gd name="T23" fmla="*/ 72761 h 48"/>
                <a:gd name="T24" fmla="*/ 259136 w 136"/>
                <a:gd name="T25" fmla="*/ 58209 h 48"/>
                <a:gd name="T26" fmla="*/ 224585 w 136"/>
                <a:gd name="T27" fmla="*/ 58209 h 48"/>
                <a:gd name="T28" fmla="*/ 190033 w 136"/>
                <a:gd name="T29" fmla="*/ 29104 h 48"/>
                <a:gd name="T30" fmla="*/ 103655 w 136"/>
                <a:gd name="T31" fmla="*/ 0 h 48"/>
                <a:gd name="T32" fmla="*/ 34552 w 136"/>
                <a:gd name="T33" fmla="*/ 14552 h 48"/>
                <a:gd name="T34" fmla="*/ 0 w 136"/>
                <a:gd name="T35" fmla="*/ 43657 h 4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6"/>
                <a:gd name="T55" fmla="*/ 0 h 48"/>
                <a:gd name="T56" fmla="*/ 136 w 136"/>
                <a:gd name="T57" fmla="*/ 48 h 4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6" h="48">
                  <a:moveTo>
                    <a:pt x="0" y="24"/>
                  </a:moveTo>
                  <a:lnTo>
                    <a:pt x="8" y="24"/>
                  </a:lnTo>
                  <a:lnTo>
                    <a:pt x="32" y="8"/>
                  </a:lnTo>
                  <a:lnTo>
                    <a:pt x="48" y="8"/>
                  </a:lnTo>
                  <a:lnTo>
                    <a:pt x="40" y="16"/>
                  </a:lnTo>
                  <a:lnTo>
                    <a:pt x="80" y="24"/>
                  </a:lnTo>
                  <a:lnTo>
                    <a:pt x="88" y="40"/>
                  </a:lnTo>
                  <a:lnTo>
                    <a:pt x="96" y="40"/>
                  </a:lnTo>
                  <a:lnTo>
                    <a:pt x="88" y="48"/>
                  </a:lnTo>
                  <a:lnTo>
                    <a:pt x="136" y="48"/>
                  </a:lnTo>
                  <a:lnTo>
                    <a:pt x="128" y="40"/>
                  </a:lnTo>
                  <a:lnTo>
                    <a:pt x="120" y="40"/>
                  </a:lnTo>
                  <a:lnTo>
                    <a:pt x="120" y="32"/>
                  </a:lnTo>
                  <a:lnTo>
                    <a:pt x="104" y="32"/>
                  </a:lnTo>
                  <a:lnTo>
                    <a:pt x="88" y="16"/>
                  </a:lnTo>
                  <a:lnTo>
                    <a:pt x="48" y="0"/>
                  </a:lnTo>
                  <a:lnTo>
                    <a:pt x="16" y="8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197">
              <a:extLst>
                <a:ext uri="{FF2B5EF4-FFF2-40B4-BE49-F238E27FC236}">
                  <a16:creationId xmlns:a16="http://schemas.microsoft.com/office/drawing/2014/main" id="{E5BEE603-BD8C-4C8C-98E7-CAEC4EABC829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3752780" y="3570982"/>
              <a:ext cx="66081" cy="18541"/>
            </a:xfrm>
            <a:custGeom>
              <a:avLst/>
              <a:gdLst>
                <a:gd name="T0" fmla="*/ 0 w 24"/>
                <a:gd name="T1" fmla="*/ 14288 h 8"/>
                <a:gd name="T2" fmla="*/ 34925 w 24"/>
                <a:gd name="T3" fmla="*/ 14288 h 8"/>
                <a:gd name="T4" fmla="*/ 52388 w 24"/>
                <a:gd name="T5" fmla="*/ 0 h 8"/>
                <a:gd name="T6" fmla="*/ 34925 w 24"/>
                <a:gd name="T7" fmla="*/ 0 h 8"/>
                <a:gd name="T8" fmla="*/ 0 w 24"/>
                <a:gd name="T9" fmla="*/ 0 h 8"/>
                <a:gd name="T10" fmla="*/ 0 w 24"/>
                <a:gd name="T11" fmla="*/ 1428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8"/>
                <a:gd name="T20" fmla="*/ 24 w 2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8">
                  <a:moveTo>
                    <a:pt x="0" y="8"/>
                  </a:moveTo>
                  <a:lnTo>
                    <a:pt x="16" y="8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Line 198">
              <a:extLst>
                <a:ext uri="{FF2B5EF4-FFF2-40B4-BE49-F238E27FC236}">
                  <a16:creationId xmlns:a16="http://schemas.microsoft.com/office/drawing/2014/main" id="{A6BF7704-B218-45EF-AA3E-E4D93CCAFF3A}"/>
                </a:ext>
              </a:extLst>
            </p:cNvPr>
            <p:cNvSpPr>
              <a:spLocks noChangeShapeType="1"/>
            </p:cNvSpPr>
            <p:nvPr>
              <p:custDataLst>
                <p:tags r:id="rId155"/>
              </p:custDataLst>
            </p:nvPr>
          </p:nvSpPr>
          <p:spPr bwMode="auto">
            <a:xfrm>
              <a:off x="3666675" y="3801703"/>
              <a:ext cx="2003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Line 199">
              <a:extLst>
                <a:ext uri="{FF2B5EF4-FFF2-40B4-BE49-F238E27FC236}">
                  <a16:creationId xmlns:a16="http://schemas.microsoft.com/office/drawing/2014/main" id="{1F83D389-6498-470C-B0B3-CE46DF39D446}"/>
                </a:ext>
              </a:extLst>
            </p:cNvPr>
            <p:cNvSpPr>
              <a:spLocks noChangeShapeType="1"/>
            </p:cNvSpPr>
            <p:nvPr>
              <p:custDataLst>
                <p:tags r:id="rId156"/>
              </p:custDataLst>
            </p:nvPr>
          </p:nvSpPr>
          <p:spPr bwMode="auto">
            <a:xfrm>
              <a:off x="3949017" y="3667803"/>
              <a:ext cx="4005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Line 200">
              <a:extLst>
                <a:ext uri="{FF2B5EF4-FFF2-40B4-BE49-F238E27FC236}">
                  <a16:creationId xmlns:a16="http://schemas.microsoft.com/office/drawing/2014/main" id="{F99A78D2-A78B-4605-B8E0-EE0856CF483A}"/>
                </a:ext>
              </a:extLst>
            </p:cNvPr>
            <p:cNvSpPr>
              <a:spLocks noChangeShapeType="1"/>
            </p:cNvSpPr>
            <p:nvPr>
              <p:custDataLst>
                <p:tags r:id="rId157"/>
              </p:custDataLst>
            </p:nvPr>
          </p:nvSpPr>
          <p:spPr bwMode="auto">
            <a:xfrm>
              <a:off x="3949017" y="3725483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201">
              <a:extLst>
                <a:ext uri="{FF2B5EF4-FFF2-40B4-BE49-F238E27FC236}">
                  <a16:creationId xmlns:a16="http://schemas.microsoft.com/office/drawing/2014/main" id="{DFA7E46B-3964-40DF-A277-15A5302B8A1B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3382332" y="3321722"/>
              <a:ext cx="22027" cy="57680"/>
            </a:xfrm>
            <a:custGeom>
              <a:avLst/>
              <a:gdLst>
                <a:gd name="T0" fmla="*/ 17463 w 8"/>
                <a:gd name="T1" fmla="*/ 0 h 24"/>
                <a:gd name="T2" fmla="*/ 0 w 8"/>
                <a:gd name="T3" fmla="*/ 14817 h 24"/>
                <a:gd name="T4" fmla="*/ 17463 w 8"/>
                <a:gd name="T5" fmla="*/ 44450 h 24"/>
                <a:gd name="T6" fmla="*/ 17463 w 8"/>
                <a:gd name="T7" fmla="*/ 14817 h 24"/>
                <a:gd name="T8" fmla="*/ 17463 w 8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4"/>
                <a:gd name="T17" fmla="*/ 8 w 8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4">
                  <a:moveTo>
                    <a:pt x="8" y="0"/>
                  </a:moveTo>
                  <a:lnTo>
                    <a:pt x="0" y="8"/>
                  </a:lnTo>
                  <a:lnTo>
                    <a:pt x="8" y="24"/>
                  </a:lnTo>
                  <a:lnTo>
                    <a:pt x="8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202">
              <a:extLst>
                <a:ext uri="{FF2B5EF4-FFF2-40B4-BE49-F238E27FC236}">
                  <a16:creationId xmlns:a16="http://schemas.microsoft.com/office/drawing/2014/main" id="{66943D8D-2881-437D-9774-E9349A90C21B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534516" y="3455622"/>
              <a:ext cx="22027" cy="20600"/>
            </a:xfrm>
            <a:custGeom>
              <a:avLst/>
              <a:gdLst>
                <a:gd name="T0" fmla="*/ 0 w 8"/>
                <a:gd name="T1" fmla="*/ 15875 h 8"/>
                <a:gd name="T2" fmla="*/ 17463 w 8"/>
                <a:gd name="T3" fmla="*/ 15875 h 8"/>
                <a:gd name="T4" fmla="*/ 17463 w 8"/>
                <a:gd name="T5" fmla="*/ 0 h 8"/>
                <a:gd name="T6" fmla="*/ 0 w 8"/>
                <a:gd name="T7" fmla="*/ 15875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Line 203">
              <a:extLst>
                <a:ext uri="{FF2B5EF4-FFF2-40B4-BE49-F238E27FC236}">
                  <a16:creationId xmlns:a16="http://schemas.microsoft.com/office/drawing/2014/main" id="{5C4EB7CB-1DBF-4E71-A0DD-16E5BEB86C17}"/>
                </a:ext>
              </a:extLst>
            </p:cNvPr>
            <p:cNvSpPr>
              <a:spLocks noChangeShapeType="1"/>
            </p:cNvSpPr>
            <p:nvPr>
              <p:custDataLst>
                <p:tags r:id="rId160"/>
              </p:custDataLst>
            </p:nvPr>
          </p:nvSpPr>
          <p:spPr bwMode="auto">
            <a:xfrm>
              <a:off x="3382332" y="3284642"/>
              <a:ext cx="44053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204">
              <a:extLst>
                <a:ext uri="{FF2B5EF4-FFF2-40B4-BE49-F238E27FC236}">
                  <a16:creationId xmlns:a16="http://schemas.microsoft.com/office/drawing/2014/main" id="{935E222B-F480-4640-8E46-3942B970CCD7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426385" y="3284642"/>
              <a:ext cx="22027" cy="37080"/>
            </a:xfrm>
            <a:custGeom>
              <a:avLst/>
              <a:gdLst>
                <a:gd name="T0" fmla="*/ 0 w 8"/>
                <a:gd name="T1" fmla="*/ 0 h 16"/>
                <a:gd name="T2" fmla="*/ 17463 w 8"/>
                <a:gd name="T3" fmla="*/ 14288 h 16"/>
                <a:gd name="T4" fmla="*/ 17463 w 8"/>
                <a:gd name="T5" fmla="*/ 28575 h 16"/>
                <a:gd name="T6" fmla="*/ 0 60000 65536"/>
                <a:gd name="T7" fmla="*/ 0 60000 65536"/>
                <a:gd name="T8" fmla="*/ 0 60000 65536"/>
                <a:gd name="T9" fmla="*/ 0 w 8"/>
                <a:gd name="T10" fmla="*/ 0 h 16"/>
                <a:gd name="T11" fmla="*/ 8 w 8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6">
                  <a:moveTo>
                    <a:pt x="0" y="0"/>
                  </a:moveTo>
                  <a:lnTo>
                    <a:pt x="8" y="8"/>
                  </a:lnTo>
                  <a:lnTo>
                    <a:pt x="8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205">
              <a:extLst>
                <a:ext uri="{FF2B5EF4-FFF2-40B4-BE49-F238E27FC236}">
                  <a16:creationId xmlns:a16="http://schemas.microsoft.com/office/drawing/2014/main" id="{158B85C9-75A3-4C60-A3F1-FA4382D87CC7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448412" y="3342322"/>
              <a:ext cx="22027" cy="18541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0 h 8"/>
                <a:gd name="T4" fmla="*/ 17463 w 8"/>
                <a:gd name="T5" fmla="*/ 14288 h 8"/>
                <a:gd name="T6" fmla="*/ 0 60000 65536"/>
                <a:gd name="T7" fmla="*/ 0 60000 65536"/>
                <a:gd name="T8" fmla="*/ 0 60000 65536"/>
                <a:gd name="T9" fmla="*/ 0 w 8"/>
                <a:gd name="T10" fmla="*/ 0 h 8"/>
                <a:gd name="T11" fmla="*/ 8 w 8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8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1" name="Line 206">
              <a:extLst>
                <a:ext uri="{FF2B5EF4-FFF2-40B4-BE49-F238E27FC236}">
                  <a16:creationId xmlns:a16="http://schemas.microsoft.com/office/drawing/2014/main" id="{184DF7A8-AACC-49F7-A43C-A655445230B6}"/>
                </a:ext>
              </a:extLst>
            </p:cNvPr>
            <p:cNvSpPr>
              <a:spLocks noChangeShapeType="1"/>
            </p:cNvSpPr>
            <p:nvPr>
              <p:custDataLst>
                <p:tags r:id="rId163"/>
              </p:custDataLst>
            </p:nvPr>
          </p:nvSpPr>
          <p:spPr bwMode="auto">
            <a:xfrm>
              <a:off x="3492465" y="3360861"/>
              <a:ext cx="2003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2" name="Freeform 207">
              <a:extLst>
                <a:ext uri="{FF2B5EF4-FFF2-40B4-BE49-F238E27FC236}">
                  <a16:creationId xmlns:a16="http://schemas.microsoft.com/office/drawing/2014/main" id="{4E8495CD-19A7-484D-95EA-8E70A0F50174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492465" y="3400002"/>
              <a:ext cx="42051" cy="37080"/>
            </a:xfrm>
            <a:custGeom>
              <a:avLst/>
              <a:gdLst>
                <a:gd name="T0" fmla="*/ 0 w 16"/>
                <a:gd name="T1" fmla="*/ 0 h 16"/>
                <a:gd name="T2" fmla="*/ 16669 w 16"/>
                <a:gd name="T3" fmla="*/ 28575 h 16"/>
                <a:gd name="T4" fmla="*/ 33338 w 16"/>
                <a:gd name="T5" fmla="*/ 28575 h 16"/>
                <a:gd name="T6" fmla="*/ 0 60000 65536"/>
                <a:gd name="T7" fmla="*/ 0 60000 65536"/>
                <a:gd name="T8" fmla="*/ 0 60000 65536"/>
                <a:gd name="T9" fmla="*/ 0 w 16"/>
                <a:gd name="T10" fmla="*/ 0 h 16"/>
                <a:gd name="T11" fmla="*/ 16 w 16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" h="16">
                  <a:moveTo>
                    <a:pt x="0" y="0"/>
                  </a:moveTo>
                  <a:lnTo>
                    <a:pt x="8" y="16"/>
                  </a:lnTo>
                  <a:lnTo>
                    <a:pt x="16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Line 208">
              <a:extLst>
                <a:ext uri="{FF2B5EF4-FFF2-40B4-BE49-F238E27FC236}">
                  <a16:creationId xmlns:a16="http://schemas.microsoft.com/office/drawing/2014/main" id="{F9ED5A8A-1A92-45A6-9323-FEDB65BD503C}"/>
                </a:ext>
              </a:extLst>
            </p:cNvPr>
            <p:cNvSpPr>
              <a:spLocks noChangeShapeType="1"/>
            </p:cNvSpPr>
            <p:nvPr>
              <p:custDataLst>
                <p:tags r:id="rId165"/>
              </p:custDataLst>
            </p:nvPr>
          </p:nvSpPr>
          <p:spPr bwMode="auto">
            <a:xfrm flipV="1">
              <a:off x="3512490" y="3437082"/>
              <a:ext cx="22027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4" name="Line 209">
              <a:extLst>
                <a:ext uri="{FF2B5EF4-FFF2-40B4-BE49-F238E27FC236}">
                  <a16:creationId xmlns:a16="http://schemas.microsoft.com/office/drawing/2014/main" id="{23838FCA-DF2A-4B53-AB77-96959B333756}"/>
                </a:ext>
              </a:extLst>
            </p:cNvPr>
            <p:cNvSpPr>
              <a:spLocks noChangeShapeType="1"/>
            </p:cNvSpPr>
            <p:nvPr>
              <p:custDataLst>
                <p:tags r:id="rId166"/>
              </p:custDataLst>
            </p:nvPr>
          </p:nvSpPr>
          <p:spPr bwMode="auto">
            <a:xfrm>
              <a:off x="3556543" y="3437082"/>
              <a:ext cx="22027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5" name="Freeform 210">
              <a:extLst>
                <a:ext uri="{FF2B5EF4-FFF2-40B4-BE49-F238E27FC236}">
                  <a16:creationId xmlns:a16="http://schemas.microsoft.com/office/drawing/2014/main" id="{78071F10-BF4E-4AC9-BDD8-A1DF2819FB67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8569" y="3455622"/>
              <a:ext cx="44053" cy="20600"/>
            </a:xfrm>
            <a:custGeom>
              <a:avLst/>
              <a:gdLst>
                <a:gd name="T0" fmla="*/ 0 w 16"/>
                <a:gd name="T1" fmla="*/ 15875 h 8"/>
                <a:gd name="T2" fmla="*/ 17463 w 16"/>
                <a:gd name="T3" fmla="*/ 0 h 8"/>
                <a:gd name="T4" fmla="*/ 34925 w 16"/>
                <a:gd name="T5" fmla="*/ 15875 h 8"/>
                <a:gd name="T6" fmla="*/ 0 60000 65536"/>
                <a:gd name="T7" fmla="*/ 0 60000 65536"/>
                <a:gd name="T8" fmla="*/ 0 60000 65536"/>
                <a:gd name="T9" fmla="*/ 0 w 16"/>
                <a:gd name="T10" fmla="*/ 0 h 8"/>
                <a:gd name="T11" fmla="*/ 16 w 16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" h="8">
                  <a:moveTo>
                    <a:pt x="0" y="8"/>
                  </a:moveTo>
                  <a:lnTo>
                    <a:pt x="8" y="0"/>
                  </a:lnTo>
                  <a:lnTo>
                    <a:pt x="16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Line 211">
              <a:extLst>
                <a:ext uri="{FF2B5EF4-FFF2-40B4-BE49-F238E27FC236}">
                  <a16:creationId xmlns:a16="http://schemas.microsoft.com/office/drawing/2014/main" id="{CB1383DC-A8C5-4A9F-97BC-1EBF4655CB45}"/>
                </a:ext>
              </a:extLst>
            </p:cNvPr>
            <p:cNvSpPr>
              <a:spLocks noChangeShapeType="1"/>
            </p:cNvSpPr>
            <p:nvPr>
              <p:custDataLst>
                <p:tags r:id="rId168"/>
              </p:custDataLst>
            </p:nvPr>
          </p:nvSpPr>
          <p:spPr bwMode="auto">
            <a:xfrm>
              <a:off x="3274201" y="3360861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Freeform 212">
              <a:extLst>
                <a:ext uri="{FF2B5EF4-FFF2-40B4-BE49-F238E27FC236}">
                  <a16:creationId xmlns:a16="http://schemas.microsoft.com/office/drawing/2014/main" id="{6AEB20BA-C9FD-4F11-B8E8-980A24A706D4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3708727" y="2749040"/>
              <a:ext cx="88106" cy="18541"/>
            </a:xfrm>
            <a:custGeom>
              <a:avLst/>
              <a:gdLst>
                <a:gd name="T0" fmla="*/ 0 w 32"/>
                <a:gd name="T1" fmla="*/ 14288 h 8"/>
                <a:gd name="T2" fmla="*/ 69850 w 32"/>
                <a:gd name="T3" fmla="*/ 0 h 8"/>
                <a:gd name="T4" fmla="*/ 52387 w 32"/>
                <a:gd name="T5" fmla="*/ 0 h 8"/>
                <a:gd name="T6" fmla="*/ 0 w 32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"/>
                <a:gd name="T13" fmla="*/ 0 h 8"/>
                <a:gd name="T14" fmla="*/ 32 w 3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" h="8">
                  <a:moveTo>
                    <a:pt x="0" y="8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" name="Freeform 213">
              <a:extLst>
                <a:ext uri="{FF2B5EF4-FFF2-40B4-BE49-F238E27FC236}">
                  <a16:creationId xmlns:a16="http://schemas.microsoft.com/office/drawing/2014/main" id="{7C81A19C-7B3F-4A4A-B06A-8EBEECEB3057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167280" y="2442098"/>
              <a:ext cx="88106" cy="18541"/>
            </a:xfrm>
            <a:custGeom>
              <a:avLst/>
              <a:gdLst>
                <a:gd name="T0" fmla="*/ 0 w 32"/>
                <a:gd name="T1" fmla="*/ 0 h 8"/>
                <a:gd name="T2" fmla="*/ 34925 w 32"/>
                <a:gd name="T3" fmla="*/ 14288 h 8"/>
                <a:gd name="T4" fmla="*/ 69850 w 32"/>
                <a:gd name="T5" fmla="*/ 14288 h 8"/>
                <a:gd name="T6" fmla="*/ 34925 w 32"/>
                <a:gd name="T7" fmla="*/ 0 h 8"/>
                <a:gd name="T8" fmla="*/ 0 w 3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"/>
                <a:gd name="T16" fmla="*/ 0 h 8"/>
                <a:gd name="T17" fmla="*/ 32 w 3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" h="8">
                  <a:moveTo>
                    <a:pt x="0" y="0"/>
                  </a:moveTo>
                  <a:lnTo>
                    <a:pt x="16" y="8"/>
                  </a:lnTo>
                  <a:lnTo>
                    <a:pt x="32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" name="Freeform 214">
              <a:extLst>
                <a:ext uri="{FF2B5EF4-FFF2-40B4-BE49-F238E27FC236}">
                  <a16:creationId xmlns:a16="http://schemas.microsoft.com/office/drawing/2014/main" id="{96EE9594-2161-4723-9D6A-6F9F1E9B41F1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123227" y="2536859"/>
              <a:ext cx="66081" cy="39141"/>
            </a:xfrm>
            <a:custGeom>
              <a:avLst/>
              <a:gdLst>
                <a:gd name="T0" fmla="*/ 0 w 24"/>
                <a:gd name="T1" fmla="*/ 15082 h 16"/>
                <a:gd name="T2" fmla="*/ 34925 w 24"/>
                <a:gd name="T3" fmla="*/ 30163 h 16"/>
                <a:gd name="T4" fmla="*/ 52388 w 24"/>
                <a:gd name="T5" fmla="*/ 15082 h 16"/>
                <a:gd name="T6" fmla="*/ 17463 w 24"/>
                <a:gd name="T7" fmla="*/ 15082 h 16"/>
                <a:gd name="T8" fmla="*/ 17463 w 24"/>
                <a:gd name="T9" fmla="*/ 0 h 16"/>
                <a:gd name="T10" fmla="*/ 0 w 24"/>
                <a:gd name="T11" fmla="*/ 1508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16"/>
                <a:gd name="T20" fmla="*/ 24 w 24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16">
                  <a:moveTo>
                    <a:pt x="0" y="8"/>
                  </a:moveTo>
                  <a:lnTo>
                    <a:pt x="16" y="16"/>
                  </a:lnTo>
                  <a:lnTo>
                    <a:pt x="24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Freeform 215">
              <a:extLst>
                <a:ext uri="{FF2B5EF4-FFF2-40B4-BE49-F238E27FC236}">
                  <a16:creationId xmlns:a16="http://schemas.microsoft.com/office/drawing/2014/main" id="{0797D699-D1CA-449A-90D0-83C658365E58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62912" y="2001257"/>
              <a:ext cx="64077" cy="18541"/>
            </a:xfrm>
            <a:custGeom>
              <a:avLst/>
              <a:gdLst>
                <a:gd name="T0" fmla="*/ 0 w 24"/>
                <a:gd name="T1" fmla="*/ 14288 h 8"/>
                <a:gd name="T2" fmla="*/ 50800 w 24"/>
                <a:gd name="T3" fmla="*/ 0 h 8"/>
                <a:gd name="T4" fmla="*/ 16933 w 24"/>
                <a:gd name="T5" fmla="*/ 0 h 8"/>
                <a:gd name="T6" fmla="*/ 0 w 24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8"/>
                <a:gd name="T14" fmla="*/ 24 w 2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8">
                  <a:moveTo>
                    <a:pt x="0" y="8"/>
                  </a:moveTo>
                  <a:lnTo>
                    <a:pt x="24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Freeform 216">
              <a:extLst>
                <a:ext uri="{FF2B5EF4-FFF2-40B4-BE49-F238E27FC236}">
                  <a16:creationId xmlns:a16="http://schemas.microsoft.com/office/drawing/2014/main" id="{2B14E78F-BB7C-40DF-8B8F-AFE1594FA59A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3949017" y="2019798"/>
              <a:ext cx="44053" cy="20600"/>
            </a:xfrm>
            <a:custGeom>
              <a:avLst/>
              <a:gdLst>
                <a:gd name="T0" fmla="*/ 17463 w 16"/>
                <a:gd name="T1" fmla="*/ 0 h 8"/>
                <a:gd name="T2" fmla="*/ 0 w 16"/>
                <a:gd name="T3" fmla="*/ 15875 h 8"/>
                <a:gd name="T4" fmla="*/ 34925 w 16"/>
                <a:gd name="T5" fmla="*/ 0 h 8"/>
                <a:gd name="T6" fmla="*/ 17463 w 16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8"/>
                <a:gd name="T14" fmla="*/ 16 w 1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8">
                  <a:moveTo>
                    <a:pt x="8" y="0"/>
                  </a:moveTo>
                  <a:lnTo>
                    <a:pt x="0" y="8"/>
                  </a:lnTo>
                  <a:lnTo>
                    <a:pt x="1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Freeform 217">
              <a:extLst>
                <a:ext uri="{FF2B5EF4-FFF2-40B4-BE49-F238E27FC236}">
                  <a16:creationId xmlns:a16="http://schemas.microsoft.com/office/drawing/2014/main" id="{AAEFD321-5C92-4AA6-9763-5CBCBFF9EE73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299440" y="2384418"/>
              <a:ext cx="216261" cy="173041"/>
            </a:xfrm>
            <a:custGeom>
              <a:avLst/>
              <a:gdLst>
                <a:gd name="T0" fmla="*/ 0 w 80"/>
                <a:gd name="T1" fmla="*/ 88900 h 72"/>
                <a:gd name="T2" fmla="*/ 0 w 80"/>
                <a:gd name="T3" fmla="*/ 103717 h 72"/>
                <a:gd name="T4" fmla="*/ 102870 w 80"/>
                <a:gd name="T5" fmla="*/ 103717 h 72"/>
                <a:gd name="T6" fmla="*/ 85725 w 80"/>
                <a:gd name="T7" fmla="*/ 118533 h 72"/>
                <a:gd name="T8" fmla="*/ 102870 w 80"/>
                <a:gd name="T9" fmla="*/ 118533 h 72"/>
                <a:gd name="T10" fmla="*/ 120015 w 80"/>
                <a:gd name="T11" fmla="*/ 103717 h 72"/>
                <a:gd name="T12" fmla="*/ 137160 w 80"/>
                <a:gd name="T13" fmla="*/ 103717 h 72"/>
                <a:gd name="T14" fmla="*/ 120015 w 80"/>
                <a:gd name="T15" fmla="*/ 118533 h 72"/>
                <a:gd name="T16" fmla="*/ 137160 w 80"/>
                <a:gd name="T17" fmla="*/ 118533 h 72"/>
                <a:gd name="T18" fmla="*/ 137160 w 80"/>
                <a:gd name="T19" fmla="*/ 133350 h 72"/>
                <a:gd name="T20" fmla="*/ 154305 w 80"/>
                <a:gd name="T21" fmla="*/ 133350 h 72"/>
                <a:gd name="T22" fmla="*/ 171450 w 80"/>
                <a:gd name="T23" fmla="*/ 103717 h 72"/>
                <a:gd name="T24" fmla="*/ 154305 w 80"/>
                <a:gd name="T25" fmla="*/ 103717 h 72"/>
                <a:gd name="T26" fmla="*/ 171450 w 80"/>
                <a:gd name="T27" fmla="*/ 88900 h 72"/>
                <a:gd name="T28" fmla="*/ 137160 w 80"/>
                <a:gd name="T29" fmla="*/ 103717 h 72"/>
                <a:gd name="T30" fmla="*/ 171450 w 80"/>
                <a:gd name="T31" fmla="*/ 74083 h 72"/>
                <a:gd name="T32" fmla="*/ 154305 w 80"/>
                <a:gd name="T33" fmla="*/ 74083 h 72"/>
                <a:gd name="T34" fmla="*/ 171450 w 80"/>
                <a:gd name="T35" fmla="*/ 59267 h 72"/>
                <a:gd name="T36" fmla="*/ 120015 w 80"/>
                <a:gd name="T37" fmla="*/ 59267 h 72"/>
                <a:gd name="T38" fmla="*/ 120015 w 80"/>
                <a:gd name="T39" fmla="*/ 44450 h 72"/>
                <a:gd name="T40" fmla="*/ 120015 w 80"/>
                <a:gd name="T41" fmla="*/ 29633 h 72"/>
                <a:gd name="T42" fmla="*/ 85725 w 80"/>
                <a:gd name="T43" fmla="*/ 44450 h 72"/>
                <a:gd name="T44" fmla="*/ 137160 w 80"/>
                <a:gd name="T45" fmla="*/ 0 h 72"/>
                <a:gd name="T46" fmla="*/ 120015 w 80"/>
                <a:gd name="T47" fmla="*/ 0 h 72"/>
                <a:gd name="T48" fmla="*/ 34290 w 80"/>
                <a:gd name="T49" fmla="*/ 74083 h 72"/>
                <a:gd name="T50" fmla="*/ 0 w 80"/>
                <a:gd name="T51" fmla="*/ 88900 h 7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0"/>
                <a:gd name="T79" fmla="*/ 0 h 72"/>
                <a:gd name="T80" fmla="*/ 80 w 80"/>
                <a:gd name="T81" fmla="*/ 72 h 7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0" h="72">
                  <a:moveTo>
                    <a:pt x="0" y="48"/>
                  </a:moveTo>
                  <a:lnTo>
                    <a:pt x="0" y="56"/>
                  </a:lnTo>
                  <a:lnTo>
                    <a:pt x="48" y="56"/>
                  </a:lnTo>
                  <a:lnTo>
                    <a:pt x="40" y="64"/>
                  </a:lnTo>
                  <a:lnTo>
                    <a:pt x="48" y="64"/>
                  </a:lnTo>
                  <a:lnTo>
                    <a:pt x="56" y="56"/>
                  </a:lnTo>
                  <a:lnTo>
                    <a:pt x="64" y="56"/>
                  </a:lnTo>
                  <a:lnTo>
                    <a:pt x="56" y="64"/>
                  </a:lnTo>
                  <a:lnTo>
                    <a:pt x="64" y="64"/>
                  </a:lnTo>
                  <a:lnTo>
                    <a:pt x="64" y="72"/>
                  </a:lnTo>
                  <a:lnTo>
                    <a:pt x="72" y="72"/>
                  </a:lnTo>
                  <a:lnTo>
                    <a:pt x="80" y="56"/>
                  </a:lnTo>
                  <a:lnTo>
                    <a:pt x="72" y="56"/>
                  </a:lnTo>
                  <a:lnTo>
                    <a:pt x="80" y="48"/>
                  </a:lnTo>
                  <a:lnTo>
                    <a:pt x="64" y="56"/>
                  </a:lnTo>
                  <a:lnTo>
                    <a:pt x="80" y="40"/>
                  </a:lnTo>
                  <a:lnTo>
                    <a:pt x="72" y="40"/>
                  </a:lnTo>
                  <a:lnTo>
                    <a:pt x="80" y="32"/>
                  </a:lnTo>
                  <a:lnTo>
                    <a:pt x="56" y="32"/>
                  </a:lnTo>
                  <a:lnTo>
                    <a:pt x="56" y="24"/>
                  </a:lnTo>
                  <a:lnTo>
                    <a:pt x="56" y="16"/>
                  </a:lnTo>
                  <a:lnTo>
                    <a:pt x="40" y="24"/>
                  </a:lnTo>
                  <a:lnTo>
                    <a:pt x="64" y="0"/>
                  </a:lnTo>
                  <a:lnTo>
                    <a:pt x="56" y="0"/>
                  </a:lnTo>
                  <a:lnTo>
                    <a:pt x="16" y="40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Freeform 218">
              <a:extLst>
                <a:ext uri="{FF2B5EF4-FFF2-40B4-BE49-F238E27FC236}">
                  <a16:creationId xmlns:a16="http://schemas.microsoft.com/office/drawing/2014/main" id="{EE3F174E-66B4-47A9-8435-FEC06205786B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3796833" y="1885897"/>
              <a:ext cx="218264" cy="96821"/>
            </a:xfrm>
            <a:custGeom>
              <a:avLst/>
              <a:gdLst>
                <a:gd name="T0" fmla="*/ 0 w 80"/>
                <a:gd name="T1" fmla="*/ 59690 h 40"/>
                <a:gd name="T2" fmla="*/ 34608 w 80"/>
                <a:gd name="T3" fmla="*/ 59690 h 40"/>
                <a:gd name="T4" fmla="*/ 34608 w 80"/>
                <a:gd name="T5" fmla="*/ 74613 h 40"/>
                <a:gd name="T6" fmla="*/ 86519 w 80"/>
                <a:gd name="T7" fmla="*/ 59690 h 40"/>
                <a:gd name="T8" fmla="*/ 103823 w 80"/>
                <a:gd name="T9" fmla="*/ 59690 h 40"/>
                <a:gd name="T10" fmla="*/ 138430 w 80"/>
                <a:gd name="T11" fmla="*/ 74613 h 40"/>
                <a:gd name="T12" fmla="*/ 173038 w 80"/>
                <a:gd name="T13" fmla="*/ 59690 h 40"/>
                <a:gd name="T14" fmla="*/ 103823 w 80"/>
                <a:gd name="T15" fmla="*/ 14923 h 40"/>
                <a:gd name="T16" fmla="*/ 103823 w 80"/>
                <a:gd name="T17" fmla="*/ 0 h 40"/>
                <a:gd name="T18" fmla="*/ 69215 w 80"/>
                <a:gd name="T19" fmla="*/ 29845 h 40"/>
                <a:gd name="T20" fmla="*/ 34608 w 80"/>
                <a:gd name="T21" fmla="*/ 59690 h 40"/>
                <a:gd name="T22" fmla="*/ 0 w 80"/>
                <a:gd name="T23" fmla="*/ 59690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0"/>
                <a:gd name="T37" fmla="*/ 0 h 40"/>
                <a:gd name="T38" fmla="*/ 80 w 80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0" h="40">
                  <a:moveTo>
                    <a:pt x="0" y="32"/>
                  </a:moveTo>
                  <a:lnTo>
                    <a:pt x="16" y="32"/>
                  </a:lnTo>
                  <a:lnTo>
                    <a:pt x="16" y="40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64" y="40"/>
                  </a:lnTo>
                  <a:lnTo>
                    <a:pt x="80" y="32"/>
                  </a:lnTo>
                  <a:lnTo>
                    <a:pt x="48" y="8"/>
                  </a:lnTo>
                  <a:lnTo>
                    <a:pt x="48" y="0"/>
                  </a:lnTo>
                  <a:lnTo>
                    <a:pt x="32" y="16"/>
                  </a:lnTo>
                  <a:lnTo>
                    <a:pt x="16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Freeform 219">
              <a:extLst>
                <a:ext uri="{FF2B5EF4-FFF2-40B4-BE49-F238E27FC236}">
                  <a16:creationId xmlns:a16="http://schemas.microsoft.com/office/drawing/2014/main" id="{6F5F7D4A-891A-4316-BB72-78888745C3C5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189308" y="1828216"/>
              <a:ext cx="66081" cy="39141"/>
            </a:xfrm>
            <a:custGeom>
              <a:avLst/>
              <a:gdLst>
                <a:gd name="T0" fmla="*/ 0 w 24"/>
                <a:gd name="T1" fmla="*/ 15082 h 16"/>
                <a:gd name="T2" fmla="*/ 0 w 24"/>
                <a:gd name="T3" fmla="*/ 30163 h 16"/>
                <a:gd name="T4" fmla="*/ 17463 w 24"/>
                <a:gd name="T5" fmla="*/ 30163 h 16"/>
                <a:gd name="T6" fmla="*/ 52388 w 24"/>
                <a:gd name="T7" fmla="*/ 0 h 16"/>
                <a:gd name="T8" fmla="*/ 34925 w 24"/>
                <a:gd name="T9" fmla="*/ 0 h 16"/>
                <a:gd name="T10" fmla="*/ 0 w 24"/>
                <a:gd name="T11" fmla="*/ 1508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16"/>
                <a:gd name="T20" fmla="*/ 24 w 24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16">
                  <a:moveTo>
                    <a:pt x="0" y="8"/>
                  </a:moveTo>
                  <a:lnTo>
                    <a:pt x="0" y="16"/>
                  </a:lnTo>
                  <a:lnTo>
                    <a:pt x="8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Freeform 220">
              <a:extLst>
                <a:ext uri="{FF2B5EF4-FFF2-40B4-BE49-F238E27FC236}">
                  <a16:creationId xmlns:a16="http://schemas.microsoft.com/office/drawing/2014/main" id="{ADB503D3-1F18-4580-9E02-ACC48A07922A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3971043" y="1657236"/>
              <a:ext cx="610739" cy="362561"/>
            </a:xfrm>
            <a:custGeom>
              <a:avLst/>
              <a:gdLst>
                <a:gd name="T0" fmla="*/ 0 w 224"/>
                <a:gd name="T1" fmla="*/ 44116 h 152"/>
                <a:gd name="T2" fmla="*/ 17292 w 224"/>
                <a:gd name="T3" fmla="*/ 73526 h 152"/>
                <a:gd name="T4" fmla="*/ 51877 w 224"/>
                <a:gd name="T5" fmla="*/ 88232 h 152"/>
                <a:gd name="T6" fmla="*/ 138339 w 224"/>
                <a:gd name="T7" fmla="*/ 88232 h 152"/>
                <a:gd name="T8" fmla="*/ 155632 w 224"/>
                <a:gd name="T9" fmla="*/ 102937 h 152"/>
                <a:gd name="T10" fmla="*/ 207509 w 224"/>
                <a:gd name="T11" fmla="*/ 88232 h 152"/>
                <a:gd name="T12" fmla="*/ 242094 w 224"/>
                <a:gd name="T13" fmla="*/ 102937 h 152"/>
                <a:gd name="T14" fmla="*/ 207509 w 224"/>
                <a:gd name="T15" fmla="*/ 117642 h 152"/>
                <a:gd name="T16" fmla="*/ 242094 w 224"/>
                <a:gd name="T17" fmla="*/ 117642 h 152"/>
                <a:gd name="T18" fmla="*/ 259386 w 224"/>
                <a:gd name="T19" fmla="*/ 117642 h 152"/>
                <a:gd name="T20" fmla="*/ 276679 w 224"/>
                <a:gd name="T21" fmla="*/ 132347 h 152"/>
                <a:gd name="T22" fmla="*/ 276679 w 224"/>
                <a:gd name="T23" fmla="*/ 161758 h 152"/>
                <a:gd name="T24" fmla="*/ 190217 w 224"/>
                <a:gd name="T25" fmla="*/ 176463 h 152"/>
                <a:gd name="T26" fmla="*/ 207509 w 224"/>
                <a:gd name="T27" fmla="*/ 191168 h 152"/>
                <a:gd name="T28" fmla="*/ 172924 w 224"/>
                <a:gd name="T29" fmla="*/ 205874 h 152"/>
                <a:gd name="T30" fmla="*/ 121047 w 224"/>
                <a:gd name="T31" fmla="*/ 191168 h 152"/>
                <a:gd name="T32" fmla="*/ 86462 w 224"/>
                <a:gd name="T33" fmla="*/ 220579 h 152"/>
                <a:gd name="T34" fmla="*/ 138339 w 224"/>
                <a:gd name="T35" fmla="*/ 220579 h 152"/>
                <a:gd name="T36" fmla="*/ 190217 w 224"/>
                <a:gd name="T37" fmla="*/ 235284 h 152"/>
                <a:gd name="T38" fmla="*/ 207509 w 224"/>
                <a:gd name="T39" fmla="*/ 235284 h 152"/>
                <a:gd name="T40" fmla="*/ 207509 w 224"/>
                <a:gd name="T41" fmla="*/ 249989 h 152"/>
                <a:gd name="T42" fmla="*/ 207509 w 224"/>
                <a:gd name="T43" fmla="*/ 264695 h 152"/>
                <a:gd name="T44" fmla="*/ 259386 w 224"/>
                <a:gd name="T45" fmla="*/ 279400 h 152"/>
                <a:gd name="T46" fmla="*/ 311264 w 224"/>
                <a:gd name="T47" fmla="*/ 279400 h 152"/>
                <a:gd name="T48" fmla="*/ 276679 w 224"/>
                <a:gd name="T49" fmla="*/ 249989 h 152"/>
                <a:gd name="T50" fmla="*/ 276679 w 224"/>
                <a:gd name="T51" fmla="*/ 235284 h 152"/>
                <a:gd name="T52" fmla="*/ 328556 w 224"/>
                <a:gd name="T53" fmla="*/ 264695 h 152"/>
                <a:gd name="T54" fmla="*/ 363141 w 224"/>
                <a:gd name="T55" fmla="*/ 264695 h 152"/>
                <a:gd name="T56" fmla="*/ 380433 w 224"/>
                <a:gd name="T57" fmla="*/ 249989 h 152"/>
                <a:gd name="T58" fmla="*/ 363141 w 224"/>
                <a:gd name="T59" fmla="*/ 235284 h 152"/>
                <a:gd name="T60" fmla="*/ 380433 w 224"/>
                <a:gd name="T61" fmla="*/ 220579 h 152"/>
                <a:gd name="T62" fmla="*/ 345849 w 224"/>
                <a:gd name="T63" fmla="*/ 191168 h 152"/>
                <a:gd name="T64" fmla="*/ 363141 w 224"/>
                <a:gd name="T65" fmla="*/ 176463 h 152"/>
                <a:gd name="T66" fmla="*/ 397726 w 224"/>
                <a:gd name="T67" fmla="*/ 191168 h 152"/>
                <a:gd name="T68" fmla="*/ 397726 w 224"/>
                <a:gd name="T69" fmla="*/ 205874 h 152"/>
                <a:gd name="T70" fmla="*/ 415018 w 224"/>
                <a:gd name="T71" fmla="*/ 205874 h 152"/>
                <a:gd name="T72" fmla="*/ 484188 w 224"/>
                <a:gd name="T73" fmla="*/ 161758 h 152"/>
                <a:gd name="T74" fmla="*/ 432311 w 224"/>
                <a:gd name="T75" fmla="*/ 132347 h 152"/>
                <a:gd name="T76" fmla="*/ 397726 w 224"/>
                <a:gd name="T77" fmla="*/ 132347 h 152"/>
                <a:gd name="T78" fmla="*/ 380433 w 224"/>
                <a:gd name="T79" fmla="*/ 117642 h 152"/>
                <a:gd name="T80" fmla="*/ 397726 w 224"/>
                <a:gd name="T81" fmla="*/ 117642 h 152"/>
                <a:gd name="T82" fmla="*/ 432311 w 224"/>
                <a:gd name="T83" fmla="*/ 102937 h 152"/>
                <a:gd name="T84" fmla="*/ 415018 w 224"/>
                <a:gd name="T85" fmla="*/ 102937 h 152"/>
                <a:gd name="T86" fmla="*/ 432311 w 224"/>
                <a:gd name="T87" fmla="*/ 88232 h 152"/>
                <a:gd name="T88" fmla="*/ 380433 w 224"/>
                <a:gd name="T89" fmla="*/ 58821 h 152"/>
                <a:gd name="T90" fmla="*/ 328556 w 224"/>
                <a:gd name="T91" fmla="*/ 44116 h 152"/>
                <a:gd name="T92" fmla="*/ 345849 w 224"/>
                <a:gd name="T93" fmla="*/ 29411 h 152"/>
                <a:gd name="T94" fmla="*/ 276679 w 224"/>
                <a:gd name="T95" fmla="*/ 29411 h 152"/>
                <a:gd name="T96" fmla="*/ 190217 w 224"/>
                <a:gd name="T97" fmla="*/ 44116 h 152"/>
                <a:gd name="T98" fmla="*/ 224802 w 224"/>
                <a:gd name="T99" fmla="*/ 14705 h 152"/>
                <a:gd name="T100" fmla="*/ 190217 w 224"/>
                <a:gd name="T101" fmla="*/ 0 h 152"/>
                <a:gd name="T102" fmla="*/ 121047 w 224"/>
                <a:gd name="T103" fmla="*/ 14705 h 152"/>
                <a:gd name="T104" fmla="*/ 86462 w 224"/>
                <a:gd name="T105" fmla="*/ 44116 h 152"/>
                <a:gd name="T106" fmla="*/ 103755 w 224"/>
                <a:gd name="T107" fmla="*/ 29411 h 152"/>
                <a:gd name="T108" fmla="*/ 172924 w 224"/>
                <a:gd name="T109" fmla="*/ 0 h 152"/>
                <a:gd name="T110" fmla="*/ 121047 w 224"/>
                <a:gd name="T111" fmla="*/ 0 h 152"/>
                <a:gd name="T112" fmla="*/ 51877 w 224"/>
                <a:gd name="T113" fmla="*/ 14705 h 152"/>
                <a:gd name="T114" fmla="*/ 0 w 224"/>
                <a:gd name="T115" fmla="*/ 44116 h 15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24"/>
                <a:gd name="T175" fmla="*/ 0 h 152"/>
                <a:gd name="T176" fmla="*/ 224 w 224"/>
                <a:gd name="T177" fmla="*/ 152 h 15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24" h="152">
                  <a:moveTo>
                    <a:pt x="0" y="24"/>
                  </a:moveTo>
                  <a:lnTo>
                    <a:pt x="8" y="40"/>
                  </a:lnTo>
                  <a:lnTo>
                    <a:pt x="24" y="48"/>
                  </a:lnTo>
                  <a:lnTo>
                    <a:pt x="64" y="48"/>
                  </a:lnTo>
                  <a:lnTo>
                    <a:pt x="72" y="56"/>
                  </a:lnTo>
                  <a:lnTo>
                    <a:pt x="96" y="48"/>
                  </a:lnTo>
                  <a:lnTo>
                    <a:pt x="112" y="56"/>
                  </a:lnTo>
                  <a:lnTo>
                    <a:pt x="96" y="64"/>
                  </a:lnTo>
                  <a:lnTo>
                    <a:pt x="112" y="64"/>
                  </a:lnTo>
                  <a:lnTo>
                    <a:pt x="120" y="64"/>
                  </a:lnTo>
                  <a:lnTo>
                    <a:pt x="128" y="72"/>
                  </a:lnTo>
                  <a:lnTo>
                    <a:pt x="128" y="88"/>
                  </a:lnTo>
                  <a:lnTo>
                    <a:pt x="88" y="96"/>
                  </a:lnTo>
                  <a:lnTo>
                    <a:pt x="96" y="104"/>
                  </a:lnTo>
                  <a:lnTo>
                    <a:pt x="80" y="112"/>
                  </a:lnTo>
                  <a:lnTo>
                    <a:pt x="56" y="104"/>
                  </a:lnTo>
                  <a:lnTo>
                    <a:pt x="40" y="120"/>
                  </a:lnTo>
                  <a:lnTo>
                    <a:pt x="64" y="120"/>
                  </a:lnTo>
                  <a:lnTo>
                    <a:pt x="88" y="128"/>
                  </a:lnTo>
                  <a:lnTo>
                    <a:pt x="96" y="128"/>
                  </a:lnTo>
                  <a:lnTo>
                    <a:pt x="96" y="136"/>
                  </a:lnTo>
                  <a:lnTo>
                    <a:pt x="96" y="144"/>
                  </a:lnTo>
                  <a:lnTo>
                    <a:pt x="120" y="152"/>
                  </a:lnTo>
                  <a:lnTo>
                    <a:pt x="144" y="152"/>
                  </a:lnTo>
                  <a:lnTo>
                    <a:pt x="128" y="136"/>
                  </a:lnTo>
                  <a:lnTo>
                    <a:pt x="128" y="128"/>
                  </a:lnTo>
                  <a:lnTo>
                    <a:pt x="152" y="144"/>
                  </a:lnTo>
                  <a:lnTo>
                    <a:pt x="168" y="144"/>
                  </a:lnTo>
                  <a:lnTo>
                    <a:pt x="176" y="136"/>
                  </a:lnTo>
                  <a:lnTo>
                    <a:pt x="168" y="128"/>
                  </a:lnTo>
                  <a:lnTo>
                    <a:pt x="176" y="120"/>
                  </a:lnTo>
                  <a:lnTo>
                    <a:pt x="160" y="104"/>
                  </a:lnTo>
                  <a:lnTo>
                    <a:pt x="168" y="96"/>
                  </a:lnTo>
                  <a:lnTo>
                    <a:pt x="184" y="104"/>
                  </a:lnTo>
                  <a:lnTo>
                    <a:pt x="184" y="112"/>
                  </a:lnTo>
                  <a:lnTo>
                    <a:pt x="192" y="112"/>
                  </a:lnTo>
                  <a:lnTo>
                    <a:pt x="224" y="88"/>
                  </a:lnTo>
                  <a:lnTo>
                    <a:pt x="200" y="72"/>
                  </a:lnTo>
                  <a:lnTo>
                    <a:pt x="184" y="72"/>
                  </a:lnTo>
                  <a:lnTo>
                    <a:pt x="176" y="64"/>
                  </a:lnTo>
                  <a:lnTo>
                    <a:pt x="184" y="64"/>
                  </a:lnTo>
                  <a:lnTo>
                    <a:pt x="200" y="56"/>
                  </a:lnTo>
                  <a:lnTo>
                    <a:pt x="192" y="56"/>
                  </a:lnTo>
                  <a:lnTo>
                    <a:pt x="200" y="48"/>
                  </a:lnTo>
                  <a:lnTo>
                    <a:pt x="176" y="32"/>
                  </a:lnTo>
                  <a:lnTo>
                    <a:pt x="152" y="24"/>
                  </a:lnTo>
                  <a:lnTo>
                    <a:pt x="160" y="16"/>
                  </a:lnTo>
                  <a:lnTo>
                    <a:pt x="128" y="16"/>
                  </a:lnTo>
                  <a:lnTo>
                    <a:pt x="88" y="24"/>
                  </a:lnTo>
                  <a:lnTo>
                    <a:pt x="104" y="8"/>
                  </a:lnTo>
                  <a:lnTo>
                    <a:pt x="88" y="0"/>
                  </a:lnTo>
                  <a:lnTo>
                    <a:pt x="56" y="8"/>
                  </a:lnTo>
                  <a:lnTo>
                    <a:pt x="40" y="24"/>
                  </a:lnTo>
                  <a:lnTo>
                    <a:pt x="48" y="16"/>
                  </a:lnTo>
                  <a:lnTo>
                    <a:pt x="80" y="0"/>
                  </a:lnTo>
                  <a:lnTo>
                    <a:pt x="56" y="0"/>
                  </a:lnTo>
                  <a:lnTo>
                    <a:pt x="24" y="8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Freeform 221">
              <a:extLst>
                <a:ext uri="{FF2B5EF4-FFF2-40B4-BE49-F238E27FC236}">
                  <a16:creationId xmlns:a16="http://schemas.microsoft.com/office/drawing/2014/main" id="{197403ED-2421-46B0-A8A6-A30FD81DE7C2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255387" y="1657236"/>
              <a:ext cx="108131" cy="37080"/>
            </a:xfrm>
            <a:custGeom>
              <a:avLst/>
              <a:gdLst>
                <a:gd name="T0" fmla="*/ 17145 w 40"/>
                <a:gd name="T1" fmla="*/ 0 h 16"/>
                <a:gd name="T2" fmla="*/ 0 w 40"/>
                <a:gd name="T3" fmla="*/ 14288 h 16"/>
                <a:gd name="T4" fmla="*/ 17145 w 40"/>
                <a:gd name="T5" fmla="*/ 28575 h 16"/>
                <a:gd name="T6" fmla="*/ 68580 w 40"/>
                <a:gd name="T7" fmla="*/ 28575 h 16"/>
                <a:gd name="T8" fmla="*/ 85725 w 40"/>
                <a:gd name="T9" fmla="*/ 14288 h 16"/>
                <a:gd name="T10" fmla="*/ 17145 w 40"/>
                <a:gd name="T11" fmla="*/ 0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6"/>
                <a:gd name="T20" fmla="*/ 40 w 40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6">
                  <a:moveTo>
                    <a:pt x="8" y="0"/>
                  </a:moveTo>
                  <a:lnTo>
                    <a:pt x="0" y="8"/>
                  </a:lnTo>
                  <a:lnTo>
                    <a:pt x="8" y="16"/>
                  </a:lnTo>
                  <a:lnTo>
                    <a:pt x="32" y="16"/>
                  </a:lnTo>
                  <a:lnTo>
                    <a:pt x="40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Freeform 222">
              <a:extLst>
                <a:ext uri="{FF2B5EF4-FFF2-40B4-BE49-F238E27FC236}">
                  <a16:creationId xmlns:a16="http://schemas.microsoft.com/office/drawing/2014/main" id="{0789C5DA-E393-4E13-9B7C-47E8D57EF319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926990" y="1618096"/>
              <a:ext cx="66081" cy="20600"/>
            </a:xfrm>
            <a:custGeom>
              <a:avLst/>
              <a:gdLst>
                <a:gd name="T0" fmla="*/ 0 w 24"/>
                <a:gd name="T1" fmla="*/ 0 h 8"/>
                <a:gd name="T2" fmla="*/ 34925 w 24"/>
                <a:gd name="T3" fmla="*/ 15875 h 8"/>
                <a:gd name="T4" fmla="*/ 52388 w 24"/>
                <a:gd name="T5" fmla="*/ 0 h 8"/>
                <a:gd name="T6" fmla="*/ 34925 w 24"/>
                <a:gd name="T7" fmla="*/ 0 h 8"/>
                <a:gd name="T8" fmla="*/ 0 w 2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8"/>
                <a:gd name="T17" fmla="*/ 24 w 2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8">
                  <a:moveTo>
                    <a:pt x="0" y="0"/>
                  </a:moveTo>
                  <a:lnTo>
                    <a:pt x="16" y="8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Freeform 223">
              <a:extLst>
                <a:ext uri="{FF2B5EF4-FFF2-40B4-BE49-F238E27FC236}">
                  <a16:creationId xmlns:a16="http://schemas.microsoft.com/office/drawing/2014/main" id="{A451A5EF-967C-4709-9962-3927BCDE1FA7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3993070" y="1581016"/>
              <a:ext cx="348421" cy="57680"/>
            </a:xfrm>
            <a:custGeom>
              <a:avLst/>
              <a:gdLst>
                <a:gd name="T0" fmla="*/ 17264 w 128"/>
                <a:gd name="T1" fmla="*/ 0 h 24"/>
                <a:gd name="T2" fmla="*/ 0 w 128"/>
                <a:gd name="T3" fmla="*/ 0 h 24"/>
                <a:gd name="T4" fmla="*/ 17264 w 128"/>
                <a:gd name="T5" fmla="*/ 14817 h 24"/>
                <a:gd name="T6" fmla="*/ 69056 w 128"/>
                <a:gd name="T7" fmla="*/ 14817 h 24"/>
                <a:gd name="T8" fmla="*/ 34528 w 128"/>
                <a:gd name="T9" fmla="*/ 44450 h 24"/>
                <a:gd name="T10" fmla="*/ 51792 w 128"/>
                <a:gd name="T11" fmla="*/ 44450 h 24"/>
                <a:gd name="T12" fmla="*/ 155377 w 128"/>
                <a:gd name="T13" fmla="*/ 44450 h 24"/>
                <a:gd name="T14" fmla="*/ 189905 w 128"/>
                <a:gd name="T15" fmla="*/ 44450 h 24"/>
                <a:gd name="T16" fmla="*/ 207169 w 128"/>
                <a:gd name="T17" fmla="*/ 44450 h 24"/>
                <a:gd name="T18" fmla="*/ 241697 w 128"/>
                <a:gd name="T19" fmla="*/ 44450 h 24"/>
                <a:gd name="T20" fmla="*/ 276225 w 128"/>
                <a:gd name="T21" fmla="*/ 29633 h 24"/>
                <a:gd name="T22" fmla="*/ 120848 w 128"/>
                <a:gd name="T23" fmla="*/ 14817 h 24"/>
                <a:gd name="T24" fmla="*/ 103584 w 128"/>
                <a:gd name="T25" fmla="*/ 14817 h 24"/>
                <a:gd name="T26" fmla="*/ 103584 w 128"/>
                <a:gd name="T27" fmla="*/ 0 h 24"/>
                <a:gd name="T28" fmla="*/ 17264 w 128"/>
                <a:gd name="T29" fmla="*/ 0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8"/>
                <a:gd name="T46" fmla="*/ 0 h 24"/>
                <a:gd name="T47" fmla="*/ 128 w 1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8" h="24">
                  <a:moveTo>
                    <a:pt x="8" y="0"/>
                  </a:moveTo>
                  <a:lnTo>
                    <a:pt x="0" y="0"/>
                  </a:lnTo>
                  <a:lnTo>
                    <a:pt x="8" y="8"/>
                  </a:lnTo>
                  <a:lnTo>
                    <a:pt x="32" y="8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72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12" y="24"/>
                  </a:lnTo>
                  <a:lnTo>
                    <a:pt x="128" y="16"/>
                  </a:lnTo>
                  <a:lnTo>
                    <a:pt x="56" y="8"/>
                  </a:lnTo>
                  <a:lnTo>
                    <a:pt x="48" y="8"/>
                  </a:lnTo>
                  <a:lnTo>
                    <a:pt x="4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Freeform 224">
              <a:extLst>
                <a:ext uri="{FF2B5EF4-FFF2-40B4-BE49-F238E27FC236}">
                  <a16:creationId xmlns:a16="http://schemas.microsoft.com/office/drawing/2014/main" id="{2DA0C7BF-DA4F-487E-A3C6-05D35EA7C34D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145254" y="1465655"/>
              <a:ext cx="218264" cy="76221"/>
            </a:xfrm>
            <a:custGeom>
              <a:avLst/>
              <a:gdLst>
                <a:gd name="T0" fmla="*/ 17304 w 80"/>
                <a:gd name="T1" fmla="*/ 14685 h 32"/>
                <a:gd name="T2" fmla="*/ 17304 w 80"/>
                <a:gd name="T3" fmla="*/ 29369 h 32"/>
                <a:gd name="T4" fmla="*/ 0 w 80"/>
                <a:gd name="T5" fmla="*/ 44053 h 32"/>
                <a:gd name="T6" fmla="*/ 0 w 80"/>
                <a:gd name="T7" fmla="*/ 58738 h 32"/>
                <a:gd name="T8" fmla="*/ 51911 w 80"/>
                <a:gd name="T9" fmla="*/ 58738 h 32"/>
                <a:gd name="T10" fmla="*/ 173038 w 80"/>
                <a:gd name="T11" fmla="*/ 29369 h 32"/>
                <a:gd name="T12" fmla="*/ 138430 w 80"/>
                <a:gd name="T13" fmla="*/ 29369 h 32"/>
                <a:gd name="T14" fmla="*/ 155734 w 80"/>
                <a:gd name="T15" fmla="*/ 14685 h 32"/>
                <a:gd name="T16" fmla="*/ 121127 w 80"/>
                <a:gd name="T17" fmla="*/ 14685 h 32"/>
                <a:gd name="T18" fmla="*/ 103823 w 80"/>
                <a:gd name="T19" fmla="*/ 0 h 32"/>
                <a:gd name="T20" fmla="*/ 69215 w 80"/>
                <a:gd name="T21" fmla="*/ 0 h 32"/>
                <a:gd name="T22" fmla="*/ 17304 w 80"/>
                <a:gd name="T23" fmla="*/ 14685 h 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0"/>
                <a:gd name="T37" fmla="*/ 0 h 32"/>
                <a:gd name="T38" fmla="*/ 80 w 80"/>
                <a:gd name="T39" fmla="*/ 32 h 3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0" h="32">
                  <a:moveTo>
                    <a:pt x="8" y="8"/>
                  </a:moveTo>
                  <a:lnTo>
                    <a:pt x="8" y="16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24" y="32"/>
                  </a:lnTo>
                  <a:lnTo>
                    <a:pt x="80" y="16"/>
                  </a:lnTo>
                  <a:lnTo>
                    <a:pt x="64" y="16"/>
                  </a:lnTo>
                  <a:lnTo>
                    <a:pt x="72" y="8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2" y="0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Freeform 225">
              <a:extLst>
                <a:ext uri="{FF2B5EF4-FFF2-40B4-BE49-F238E27FC236}">
                  <a16:creationId xmlns:a16="http://schemas.microsoft.com/office/drawing/2014/main" id="{D177ADC4-4295-4D88-9CBD-49706E9EB9F5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145254" y="1426516"/>
              <a:ext cx="851029" cy="173041"/>
            </a:xfrm>
            <a:custGeom>
              <a:avLst/>
              <a:gdLst>
                <a:gd name="T0" fmla="*/ 138398 w 312"/>
                <a:gd name="T1" fmla="*/ 29633 h 72"/>
                <a:gd name="T2" fmla="*/ 155697 w 312"/>
                <a:gd name="T3" fmla="*/ 44450 h 72"/>
                <a:gd name="T4" fmla="*/ 190297 w 312"/>
                <a:gd name="T5" fmla="*/ 44450 h 72"/>
                <a:gd name="T6" fmla="*/ 155697 w 312"/>
                <a:gd name="T7" fmla="*/ 59267 h 72"/>
                <a:gd name="T8" fmla="*/ 172997 w 312"/>
                <a:gd name="T9" fmla="*/ 59267 h 72"/>
                <a:gd name="T10" fmla="*/ 172997 w 312"/>
                <a:gd name="T11" fmla="*/ 74083 h 72"/>
                <a:gd name="T12" fmla="*/ 86498 w 312"/>
                <a:gd name="T13" fmla="*/ 88900 h 72"/>
                <a:gd name="T14" fmla="*/ 121098 w 312"/>
                <a:gd name="T15" fmla="*/ 88900 h 72"/>
                <a:gd name="T16" fmla="*/ 69199 w 312"/>
                <a:gd name="T17" fmla="*/ 88900 h 72"/>
                <a:gd name="T18" fmla="*/ 51899 w 312"/>
                <a:gd name="T19" fmla="*/ 103717 h 72"/>
                <a:gd name="T20" fmla="*/ 69199 w 312"/>
                <a:gd name="T21" fmla="*/ 103717 h 72"/>
                <a:gd name="T22" fmla="*/ 17300 w 312"/>
                <a:gd name="T23" fmla="*/ 118533 h 72"/>
                <a:gd name="T24" fmla="*/ 0 w 312"/>
                <a:gd name="T25" fmla="*/ 118533 h 72"/>
                <a:gd name="T26" fmla="*/ 155697 w 312"/>
                <a:gd name="T27" fmla="*/ 118533 h 72"/>
                <a:gd name="T28" fmla="*/ 155697 w 312"/>
                <a:gd name="T29" fmla="*/ 133350 h 72"/>
                <a:gd name="T30" fmla="*/ 242196 w 312"/>
                <a:gd name="T31" fmla="*/ 118533 h 72"/>
                <a:gd name="T32" fmla="*/ 224896 w 312"/>
                <a:gd name="T33" fmla="*/ 103717 h 72"/>
                <a:gd name="T34" fmla="*/ 259495 w 312"/>
                <a:gd name="T35" fmla="*/ 103717 h 72"/>
                <a:gd name="T36" fmla="*/ 259495 w 312"/>
                <a:gd name="T37" fmla="*/ 88900 h 72"/>
                <a:gd name="T38" fmla="*/ 311394 w 312"/>
                <a:gd name="T39" fmla="*/ 88900 h 72"/>
                <a:gd name="T40" fmla="*/ 380593 w 312"/>
                <a:gd name="T41" fmla="*/ 59267 h 72"/>
                <a:gd name="T42" fmla="*/ 674688 w 312"/>
                <a:gd name="T43" fmla="*/ 14817 h 72"/>
                <a:gd name="T44" fmla="*/ 536290 w 312"/>
                <a:gd name="T45" fmla="*/ 0 h 72"/>
                <a:gd name="T46" fmla="*/ 415193 w 312"/>
                <a:gd name="T47" fmla="*/ 0 h 72"/>
                <a:gd name="T48" fmla="*/ 138398 w 312"/>
                <a:gd name="T49" fmla="*/ 29633 h 7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12"/>
                <a:gd name="T76" fmla="*/ 0 h 72"/>
                <a:gd name="T77" fmla="*/ 312 w 312"/>
                <a:gd name="T78" fmla="*/ 72 h 7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12" h="72">
                  <a:moveTo>
                    <a:pt x="64" y="16"/>
                  </a:moveTo>
                  <a:lnTo>
                    <a:pt x="72" y="24"/>
                  </a:lnTo>
                  <a:lnTo>
                    <a:pt x="88" y="24"/>
                  </a:lnTo>
                  <a:lnTo>
                    <a:pt x="72" y="32"/>
                  </a:lnTo>
                  <a:lnTo>
                    <a:pt x="80" y="32"/>
                  </a:lnTo>
                  <a:lnTo>
                    <a:pt x="80" y="40"/>
                  </a:lnTo>
                  <a:lnTo>
                    <a:pt x="40" y="48"/>
                  </a:lnTo>
                  <a:lnTo>
                    <a:pt x="56" y="48"/>
                  </a:lnTo>
                  <a:lnTo>
                    <a:pt x="32" y="48"/>
                  </a:lnTo>
                  <a:lnTo>
                    <a:pt x="24" y="56"/>
                  </a:lnTo>
                  <a:lnTo>
                    <a:pt x="32" y="56"/>
                  </a:lnTo>
                  <a:lnTo>
                    <a:pt x="8" y="64"/>
                  </a:lnTo>
                  <a:lnTo>
                    <a:pt x="0" y="64"/>
                  </a:lnTo>
                  <a:lnTo>
                    <a:pt x="72" y="64"/>
                  </a:lnTo>
                  <a:lnTo>
                    <a:pt x="72" y="72"/>
                  </a:lnTo>
                  <a:lnTo>
                    <a:pt x="112" y="64"/>
                  </a:lnTo>
                  <a:lnTo>
                    <a:pt x="104" y="56"/>
                  </a:lnTo>
                  <a:lnTo>
                    <a:pt x="120" y="56"/>
                  </a:lnTo>
                  <a:lnTo>
                    <a:pt x="120" y="48"/>
                  </a:lnTo>
                  <a:lnTo>
                    <a:pt x="144" y="48"/>
                  </a:lnTo>
                  <a:lnTo>
                    <a:pt x="176" y="32"/>
                  </a:lnTo>
                  <a:lnTo>
                    <a:pt x="312" y="8"/>
                  </a:lnTo>
                  <a:lnTo>
                    <a:pt x="248" y="0"/>
                  </a:lnTo>
                  <a:lnTo>
                    <a:pt x="192" y="0"/>
                  </a:lnTo>
                  <a:lnTo>
                    <a:pt x="64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Freeform 226">
              <a:extLst>
                <a:ext uri="{FF2B5EF4-FFF2-40B4-BE49-F238E27FC236}">
                  <a16:creationId xmlns:a16="http://schemas.microsoft.com/office/drawing/2014/main" id="{CC32FBE9-816C-4260-A08E-25A9A852DC4C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059150" y="1484196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17463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Freeform 227">
              <a:extLst>
                <a:ext uri="{FF2B5EF4-FFF2-40B4-BE49-F238E27FC236}">
                  <a16:creationId xmlns:a16="http://schemas.microsoft.com/office/drawing/2014/main" id="{9E3B60A5-F139-4661-8133-C2CC090EAF8E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3862912" y="1523335"/>
              <a:ext cx="218264" cy="37080"/>
            </a:xfrm>
            <a:custGeom>
              <a:avLst/>
              <a:gdLst>
                <a:gd name="T0" fmla="*/ 0 w 80"/>
                <a:gd name="T1" fmla="*/ 0 h 16"/>
                <a:gd name="T2" fmla="*/ 34608 w 80"/>
                <a:gd name="T3" fmla="*/ 0 h 16"/>
                <a:gd name="T4" fmla="*/ 0 w 80"/>
                <a:gd name="T5" fmla="*/ 0 h 16"/>
                <a:gd name="T6" fmla="*/ 17304 w 80"/>
                <a:gd name="T7" fmla="*/ 14288 h 16"/>
                <a:gd name="T8" fmla="*/ 69215 w 80"/>
                <a:gd name="T9" fmla="*/ 14288 h 16"/>
                <a:gd name="T10" fmla="*/ 69215 w 80"/>
                <a:gd name="T11" fmla="*/ 28575 h 16"/>
                <a:gd name="T12" fmla="*/ 173038 w 80"/>
                <a:gd name="T13" fmla="*/ 14288 h 16"/>
                <a:gd name="T14" fmla="*/ 138430 w 80"/>
                <a:gd name="T15" fmla="*/ 0 h 16"/>
                <a:gd name="T16" fmla="*/ 103823 w 80"/>
                <a:gd name="T17" fmla="*/ 14288 h 16"/>
                <a:gd name="T18" fmla="*/ 86519 w 80"/>
                <a:gd name="T19" fmla="*/ 14288 h 16"/>
                <a:gd name="T20" fmla="*/ 103823 w 80"/>
                <a:gd name="T21" fmla="*/ 0 h 16"/>
                <a:gd name="T22" fmla="*/ 86519 w 80"/>
                <a:gd name="T23" fmla="*/ 0 h 16"/>
                <a:gd name="T24" fmla="*/ 0 w 80"/>
                <a:gd name="T25" fmla="*/ 0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"/>
                <a:gd name="T40" fmla="*/ 0 h 16"/>
                <a:gd name="T41" fmla="*/ 80 w 80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" h="16">
                  <a:moveTo>
                    <a:pt x="0" y="0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8" y="8"/>
                  </a:lnTo>
                  <a:lnTo>
                    <a:pt x="32" y="8"/>
                  </a:lnTo>
                  <a:lnTo>
                    <a:pt x="32" y="16"/>
                  </a:lnTo>
                  <a:lnTo>
                    <a:pt x="80" y="8"/>
                  </a:lnTo>
                  <a:lnTo>
                    <a:pt x="64" y="0"/>
                  </a:lnTo>
                  <a:lnTo>
                    <a:pt x="48" y="8"/>
                  </a:lnTo>
                  <a:lnTo>
                    <a:pt x="40" y="8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Freeform 228">
              <a:extLst>
                <a:ext uri="{FF2B5EF4-FFF2-40B4-BE49-F238E27FC236}">
                  <a16:creationId xmlns:a16="http://schemas.microsoft.com/office/drawing/2014/main" id="{0B4C3312-E234-49C7-A171-5EB684328183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4015096" y="1541876"/>
              <a:ext cx="108131" cy="18541"/>
            </a:xfrm>
            <a:custGeom>
              <a:avLst/>
              <a:gdLst>
                <a:gd name="T0" fmla="*/ 0 w 40"/>
                <a:gd name="T1" fmla="*/ 14288 h 8"/>
                <a:gd name="T2" fmla="*/ 68580 w 40"/>
                <a:gd name="T3" fmla="*/ 14288 h 8"/>
                <a:gd name="T4" fmla="*/ 85725 w 40"/>
                <a:gd name="T5" fmla="*/ 0 h 8"/>
                <a:gd name="T6" fmla="*/ 0 w 40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8"/>
                <a:gd name="T14" fmla="*/ 40 w 40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8">
                  <a:moveTo>
                    <a:pt x="0" y="8"/>
                  </a:moveTo>
                  <a:lnTo>
                    <a:pt x="32" y="8"/>
                  </a:lnTo>
                  <a:lnTo>
                    <a:pt x="4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Freeform 229">
              <a:extLst>
                <a:ext uri="{FF2B5EF4-FFF2-40B4-BE49-F238E27FC236}">
                  <a16:creationId xmlns:a16="http://schemas.microsoft.com/office/drawing/2014/main" id="{066D4ED4-9F1C-4695-9374-D3797C011321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3796833" y="1560416"/>
              <a:ext cx="44053" cy="4120"/>
            </a:xfrm>
            <a:custGeom>
              <a:avLst/>
              <a:gdLst>
                <a:gd name="T0" fmla="*/ 17463 w 16"/>
                <a:gd name="T1" fmla="*/ 0 h 2"/>
                <a:gd name="T2" fmla="*/ 0 w 16"/>
                <a:gd name="T3" fmla="*/ 0 h 2"/>
                <a:gd name="T4" fmla="*/ 17463 w 16"/>
                <a:gd name="T5" fmla="*/ 0 h 2"/>
                <a:gd name="T6" fmla="*/ 34925 w 16"/>
                <a:gd name="T7" fmla="*/ 0 h 2"/>
                <a:gd name="T8" fmla="*/ 17463 w 1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2"/>
                <a:gd name="T17" fmla="*/ 16 w 1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2">
                  <a:moveTo>
                    <a:pt x="8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Freeform 230">
              <a:extLst>
                <a:ext uri="{FF2B5EF4-FFF2-40B4-BE49-F238E27FC236}">
                  <a16:creationId xmlns:a16="http://schemas.microsoft.com/office/drawing/2014/main" id="{17DE5A35-F3D0-4CD2-8DC6-CBD2CA4B43F5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3774806" y="1581016"/>
              <a:ext cx="174211" cy="37080"/>
            </a:xfrm>
            <a:custGeom>
              <a:avLst/>
              <a:gdLst>
                <a:gd name="T0" fmla="*/ 0 w 64"/>
                <a:gd name="T1" fmla="*/ 0 h 16"/>
                <a:gd name="T2" fmla="*/ 0 w 64"/>
                <a:gd name="T3" fmla="*/ 28575 h 16"/>
                <a:gd name="T4" fmla="*/ 34528 w 64"/>
                <a:gd name="T5" fmla="*/ 28575 h 16"/>
                <a:gd name="T6" fmla="*/ 86321 w 64"/>
                <a:gd name="T7" fmla="*/ 28575 h 16"/>
                <a:gd name="T8" fmla="*/ 138113 w 64"/>
                <a:gd name="T9" fmla="*/ 0 h 16"/>
                <a:gd name="T10" fmla="*/ 86321 w 64"/>
                <a:gd name="T11" fmla="*/ 0 h 16"/>
                <a:gd name="T12" fmla="*/ 51792 w 64"/>
                <a:gd name="T13" fmla="*/ 14288 h 16"/>
                <a:gd name="T14" fmla="*/ 34528 w 64"/>
                <a:gd name="T15" fmla="*/ 0 h 16"/>
                <a:gd name="T16" fmla="*/ 0 w 64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4"/>
                <a:gd name="T28" fmla="*/ 0 h 16"/>
                <a:gd name="T29" fmla="*/ 64 w 64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4" h="16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40" y="16"/>
                  </a:lnTo>
                  <a:lnTo>
                    <a:pt x="64" y="0"/>
                  </a:lnTo>
                  <a:lnTo>
                    <a:pt x="40" y="0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Freeform 231">
              <a:extLst>
                <a:ext uri="{FF2B5EF4-FFF2-40B4-BE49-F238E27FC236}">
                  <a16:creationId xmlns:a16="http://schemas.microsoft.com/office/drawing/2014/main" id="{962E5D8A-2032-4880-AC28-E9F95E6BD78D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3688703" y="1657236"/>
              <a:ext cx="174211" cy="76221"/>
            </a:xfrm>
            <a:custGeom>
              <a:avLst/>
              <a:gdLst>
                <a:gd name="T0" fmla="*/ 0 w 64"/>
                <a:gd name="T1" fmla="*/ 29369 h 32"/>
                <a:gd name="T2" fmla="*/ 0 w 64"/>
                <a:gd name="T3" fmla="*/ 44053 h 32"/>
                <a:gd name="T4" fmla="*/ 17264 w 64"/>
                <a:gd name="T5" fmla="*/ 44053 h 32"/>
                <a:gd name="T6" fmla="*/ 34528 w 64"/>
                <a:gd name="T7" fmla="*/ 58738 h 32"/>
                <a:gd name="T8" fmla="*/ 103585 w 64"/>
                <a:gd name="T9" fmla="*/ 44053 h 32"/>
                <a:gd name="T10" fmla="*/ 120849 w 64"/>
                <a:gd name="T11" fmla="*/ 14685 h 32"/>
                <a:gd name="T12" fmla="*/ 103585 w 64"/>
                <a:gd name="T13" fmla="*/ 14685 h 32"/>
                <a:gd name="T14" fmla="*/ 138113 w 64"/>
                <a:gd name="T15" fmla="*/ 0 h 32"/>
                <a:gd name="T16" fmla="*/ 51792 w 64"/>
                <a:gd name="T17" fmla="*/ 0 h 32"/>
                <a:gd name="T18" fmla="*/ 51792 w 64"/>
                <a:gd name="T19" fmla="*/ 14685 h 32"/>
                <a:gd name="T20" fmla="*/ 0 w 64"/>
                <a:gd name="T21" fmla="*/ 29369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4"/>
                <a:gd name="T34" fmla="*/ 0 h 32"/>
                <a:gd name="T35" fmla="*/ 64 w 64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4" h="32">
                  <a:moveTo>
                    <a:pt x="0" y="16"/>
                  </a:moveTo>
                  <a:lnTo>
                    <a:pt x="0" y="24"/>
                  </a:lnTo>
                  <a:lnTo>
                    <a:pt x="8" y="24"/>
                  </a:lnTo>
                  <a:lnTo>
                    <a:pt x="16" y="32"/>
                  </a:lnTo>
                  <a:lnTo>
                    <a:pt x="48" y="24"/>
                  </a:lnTo>
                  <a:lnTo>
                    <a:pt x="56" y="8"/>
                  </a:lnTo>
                  <a:lnTo>
                    <a:pt x="48" y="8"/>
                  </a:lnTo>
                  <a:lnTo>
                    <a:pt x="64" y="0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Line 232">
              <a:extLst>
                <a:ext uri="{FF2B5EF4-FFF2-40B4-BE49-F238E27FC236}">
                  <a16:creationId xmlns:a16="http://schemas.microsoft.com/office/drawing/2014/main" id="{033D647F-4ADE-4FA7-9930-7B18124BD846}"/>
                </a:ext>
              </a:extLst>
            </p:cNvPr>
            <p:cNvSpPr>
              <a:spLocks noChangeShapeType="1"/>
            </p:cNvSpPr>
            <p:nvPr>
              <p:custDataLst>
                <p:tags r:id="rId189"/>
              </p:custDataLst>
            </p:nvPr>
          </p:nvSpPr>
          <p:spPr bwMode="auto">
            <a:xfrm>
              <a:off x="3730753" y="1638696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8" name="Line 233">
              <a:extLst>
                <a:ext uri="{FF2B5EF4-FFF2-40B4-BE49-F238E27FC236}">
                  <a16:creationId xmlns:a16="http://schemas.microsoft.com/office/drawing/2014/main" id="{93006A91-98E3-46DC-852B-73D8D725FC47}"/>
                </a:ext>
              </a:extLst>
            </p:cNvPr>
            <p:cNvSpPr>
              <a:spLocks noChangeShapeType="1"/>
            </p:cNvSpPr>
            <p:nvPr>
              <p:custDataLst>
                <p:tags r:id="rId190"/>
              </p:custDataLst>
            </p:nvPr>
          </p:nvSpPr>
          <p:spPr bwMode="auto">
            <a:xfrm>
              <a:off x="3644649" y="1560416"/>
              <a:ext cx="130158" cy="4120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Freeform 234">
              <a:extLst>
                <a:ext uri="{FF2B5EF4-FFF2-40B4-BE49-F238E27FC236}">
                  <a16:creationId xmlns:a16="http://schemas.microsoft.com/office/drawing/2014/main" id="{0CB9E40E-DAC5-4CF8-8303-9CAC70DC565E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00596" y="1541876"/>
              <a:ext cx="22027" cy="18541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14288 h 8"/>
                <a:gd name="T4" fmla="*/ 17463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Freeform 235">
              <a:extLst>
                <a:ext uri="{FF2B5EF4-FFF2-40B4-BE49-F238E27FC236}">
                  <a16:creationId xmlns:a16="http://schemas.microsoft.com/office/drawing/2014/main" id="{0E404294-8B2D-4B7C-9778-7E3C54DDDEBB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622622" y="1541876"/>
              <a:ext cx="108131" cy="18541"/>
            </a:xfrm>
            <a:custGeom>
              <a:avLst/>
              <a:gdLst>
                <a:gd name="T0" fmla="*/ 0 w 40"/>
                <a:gd name="T1" fmla="*/ 14288 h 8"/>
                <a:gd name="T2" fmla="*/ 17145 w 40"/>
                <a:gd name="T3" fmla="*/ 14288 h 8"/>
                <a:gd name="T4" fmla="*/ 85725 w 40"/>
                <a:gd name="T5" fmla="*/ 0 h 8"/>
                <a:gd name="T6" fmla="*/ 0 w 40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8"/>
                <a:gd name="T14" fmla="*/ 40 w 40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8">
                  <a:moveTo>
                    <a:pt x="0" y="8"/>
                  </a:moveTo>
                  <a:lnTo>
                    <a:pt x="8" y="8"/>
                  </a:lnTo>
                  <a:lnTo>
                    <a:pt x="4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Freeform 236">
              <a:extLst>
                <a:ext uri="{FF2B5EF4-FFF2-40B4-BE49-F238E27FC236}">
                  <a16:creationId xmlns:a16="http://schemas.microsoft.com/office/drawing/2014/main" id="{8EB1A751-AA7E-4352-943D-EF5B3A9252BF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382332" y="1599556"/>
              <a:ext cx="66081" cy="18541"/>
            </a:xfrm>
            <a:custGeom>
              <a:avLst/>
              <a:gdLst>
                <a:gd name="T0" fmla="*/ 0 w 24"/>
                <a:gd name="T1" fmla="*/ 14288 h 8"/>
                <a:gd name="T2" fmla="*/ 17463 w 24"/>
                <a:gd name="T3" fmla="*/ 14288 h 8"/>
                <a:gd name="T4" fmla="*/ 52388 w 24"/>
                <a:gd name="T5" fmla="*/ 0 h 8"/>
                <a:gd name="T6" fmla="*/ 0 w 24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8"/>
                <a:gd name="T14" fmla="*/ 24 w 2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8">
                  <a:moveTo>
                    <a:pt x="0" y="8"/>
                  </a:moveTo>
                  <a:lnTo>
                    <a:pt x="8" y="8"/>
                  </a:lnTo>
                  <a:lnTo>
                    <a:pt x="2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Freeform 237">
              <a:extLst>
                <a:ext uri="{FF2B5EF4-FFF2-40B4-BE49-F238E27FC236}">
                  <a16:creationId xmlns:a16="http://schemas.microsoft.com/office/drawing/2014/main" id="{012D0EA7-78D1-4B54-A56A-36DB9C7A5012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316252" y="1560416"/>
              <a:ext cx="240290" cy="39141"/>
            </a:xfrm>
            <a:custGeom>
              <a:avLst/>
              <a:gdLst>
                <a:gd name="T0" fmla="*/ 0 w 88"/>
                <a:gd name="T1" fmla="*/ 30163 h 16"/>
                <a:gd name="T2" fmla="*/ 51955 w 88"/>
                <a:gd name="T3" fmla="*/ 30163 h 16"/>
                <a:gd name="T4" fmla="*/ 103909 w 88"/>
                <a:gd name="T5" fmla="*/ 15082 h 16"/>
                <a:gd name="T6" fmla="*/ 121227 w 88"/>
                <a:gd name="T7" fmla="*/ 30163 h 16"/>
                <a:gd name="T8" fmla="*/ 190500 w 88"/>
                <a:gd name="T9" fmla="*/ 0 h 16"/>
                <a:gd name="T10" fmla="*/ 121227 w 88"/>
                <a:gd name="T11" fmla="*/ 0 h 16"/>
                <a:gd name="T12" fmla="*/ 0 w 88"/>
                <a:gd name="T13" fmla="*/ 30163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8"/>
                <a:gd name="T22" fmla="*/ 0 h 16"/>
                <a:gd name="T23" fmla="*/ 88 w 88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8" h="16">
                  <a:moveTo>
                    <a:pt x="0" y="16"/>
                  </a:moveTo>
                  <a:lnTo>
                    <a:pt x="24" y="16"/>
                  </a:lnTo>
                  <a:lnTo>
                    <a:pt x="48" y="8"/>
                  </a:lnTo>
                  <a:lnTo>
                    <a:pt x="56" y="16"/>
                  </a:lnTo>
                  <a:lnTo>
                    <a:pt x="88" y="0"/>
                  </a:lnTo>
                  <a:lnTo>
                    <a:pt x="56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Freeform 238">
              <a:extLst>
                <a:ext uri="{FF2B5EF4-FFF2-40B4-BE49-F238E27FC236}">
                  <a16:creationId xmlns:a16="http://schemas.microsoft.com/office/drawing/2014/main" id="{915A4B15-F507-4CDC-870C-8E5BFBD7509B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3404359" y="1581016"/>
              <a:ext cx="326395" cy="57680"/>
            </a:xfrm>
            <a:custGeom>
              <a:avLst/>
              <a:gdLst>
                <a:gd name="T0" fmla="*/ 0 w 120"/>
                <a:gd name="T1" fmla="*/ 29633 h 24"/>
                <a:gd name="T2" fmla="*/ 51753 w 120"/>
                <a:gd name="T3" fmla="*/ 29633 h 24"/>
                <a:gd name="T4" fmla="*/ 69003 w 120"/>
                <a:gd name="T5" fmla="*/ 29633 h 24"/>
                <a:gd name="T6" fmla="*/ 86254 w 120"/>
                <a:gd name="T7" fmla="*/ 44450 h 24"/>
                <a:gd name="T8" fmla="*/ 51753 w 120"/>
                <a:gd name="T9" fmla="*/ 44450 h 24"/>
                <a:gd name="T10" fmla="*/ 69003 w 120"/>
                <a:gd name="T11" fmla="*/ 44450 h 24"/>
                <a:gd name="T12" fmla="*/ 224261 w 120"/>
                <a:gd name="T13" fmla="*/ 29633 h 24"/>
                <a:gd name="T14" fmla="*/ 258763 w 120"/>
                <a:gd name="T15" fmla="*/ 14817 h 24"/>
                <a:gd name="T16" fmla="*/ 224261 w 120"/>
                <a:gd name="T17" fmla="*/ 14817 h 24"/>
                <a:gd name="T18" fmla="*/ 224261 w 120"/>
                <a:gd name="T19" fmla="*/ 0 h 24"/>
                <a:gd name="T20" fmla="*/ 172509 w 120"/>
                <a:gd name="T21" fmla="*/ 14817 h 24"/>
                <a:gd name="T22" fmla="*/ 189760 w 120"/>
                <a:gd name="T23" fmla="*/ 14817 h 24"/>
                <a:gd name="T24" fmla="*/ 172509 w 120"/>
                <a:gd name="T25" fmla="*/ 14817 h 24"/>
                <a:gd name="T26" fmla="*/ 172509 w 120"/>
                <a:gd name="T27" fmla="*/ 29633 h 24"/>
                <a:gd name="T28" fmla="*/ 138007 w 120"/>
                <a:gd name="T29" fmla="*/ 29633 h 24"/>
                <a:gd name="T30" fmla="*/ 138007 w 120"/>
                <a:gd name="T31" fmla="*/ 14817 h 24"/>
                <a:gd name="T32" fmla="*/ 86254 w 120"/>
                <a:gd name="T33" fmla="*/ 0 h 24"/>
                <a:gd name="T34" fmla="*/ 0 w 120"/>
                <a:gd name="T35" fmla="*/ 29633 h 2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0"/>
                <a:gd name="T55" fmla="*/ 0 h 24"/>
                <a:gd name="T56" fmla="*/ 120 w 120"/>
                <a:gd name="T57" fmla="*/ 24 h 2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0" h="24">
                  <a:moveTo>
                    <a:pt x="0" y="16"/>
                  </a:moveTo>
                  <a:lnTo>
                    <a:pt x="24" y="16"/>
                  </a:lnTo>
                  <a:lnTo>
                    <a:pt x="32" y="16"/>
                  </a:lnTo>
                  <a:lnTo>
                    <a:pt x="40" y="24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104" y="16"/>
                  </a:lnTo>
                  <a:lnTo>
                    <a:pt x="120" y="8"/>
                  </a:lnTo>
                  <a:lnTo>
                    <a:pt x="104" y="8"/>
                  </a:lnTo>
                  <a:lnTo>
                    <a:pt x="104" y="0"/>
                  </a:lnTo>
                  <a:lnTo>
                    <a:pt x="80" y="8"/>
                  </a:lnTo>
                  <a:lnTo>
                    <a:pt x="88" y="8"/>
                  </a:lnTo>
                  <a:lnTo>
                    <a:pt x="80" y="8"/>
                  </a:lnTo>
                  <a:lnTo>
                    <a:pt x="80" y="16"/>
                  </a:lnTo>
                  <a:lnTo>
                    <a:pt x="64" y="16"/>
                  </a:lnTo>
                  <a:lnTo>
                    <a:pt x="64" y="8"/>
                  </a:lnTo>
                  <a:lnTo>
                    <a:pt x="4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Freeform 239">
              <a:extLst>
                <a:ext uri="{FF2B5EF4-FFF2-40B4-BE49-F238E27FC236}">
                  <a16:creationId xmlns:a16="http://schemas.microsoft.com/office/drawing/2014/main" id="{B9879135-4BE9-491E-97D9-8AB24E33BD33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3208122" y="1657236"/>
              <a:ext cx="458555" cy="152441"/>
            </a:xfrm>
            <a:custGeom>
              <a:avLst/>
              <a:gdLst>
                <a:gd name="T0" fmla="*/ 17311 w 168"/>
                <a:gd name="T1" fmla="*/ 58738 h 64"/>
                <a:gd name="T2" fmla="*/ 34623 w 168"/>
                <a:gd name="T3" fmla="*/ 58738 h 64"/>
                <a:gd name="T4" fmla="*/ 17311 w 168"/>
                <a:gd name="T5" fmla="*/ 58738 h 64"/>
                <a:gd name="T6" fmla="*/ 17311 w 168"/>
                <a:gd name="T7" fmla="*/ 73422 h 64"/>
                <a:gd name="T8" fmla="*/ 103868 w 168"/>
                <a:gd name="T9" fmla="*/ 73422 h 64"/>
                <a:gd name="T10" fmla="*/ 17311 w 168"/>
                <a:gd name="T11" fmla="*/ 88106 h 64"/>
                <a:gd name="T12" fmla="*/ 0 w 168"/>
                <a:gd name="T13" fmla="*/ 102791 h 64"/>
                <a:gd name="T14" fmla="*/ 51934 w 168"/>
                <a:gd name="T15" fmla="*/ 102791 h 64"/>
                <a:gd name="T16" fmla="*/ 34623 w 168"/>
                <a:gd name="T17" fmla="*/ 117475 h 64"/>
                <a:gd name="T18" fmla="*/ 207736 w 168"/>
                <a:gd name="T19" fmla="*/ 102791 h 64"/>
                <a:gd name="T20" fmla="*/ 242359 w 168"/>
                <a:gd name="T21" fmla="*/ 117475 h 64"/>
                <a:gd name="T22" fmla="*/ 276981 w 168"/>
                <a:gd name="T23" fmla="*/ 117475 h 64"/>
                <a:gd name="T24" fmla="*/ 346227 w 168"/>
                <a:gd name="T25" fmla="*/ 88106 h 64"/>
                <a:gd name="T26" fmla="*/ 294293 w 168"/>
                <a:gd name="T27" fmla="*/ 73422 h 64"/>
                <a:gd name="T28" fmla="*/ 294293 w 168"/>
                <a:gd name="T29" fmla="*/ 58738 h 64"/>
                <a:gd name="T30" fmla="*/ 311604 w 168"/>
                <a:gd name="T31" fmla="*/ 58738 h 64"/>
                <a:gd name="T32" fmla="*/ 311604 w 168"/>
                <a:gd name="T33" fmla="*/ 29369 h 64"/>
                <a:gd name="T34" fmla="*/ 363538 w 168"/>
                <a:gd name="T35" fmla="*/ 14684 h 64"/>
                <a:gd name="T36" fmla="*/ 328915 w 168"/>
                <a:gd name="T37" fmla="*/ 0 h 64"/>
                <a:gd name="T38" fmla="*/ 276981 w 168"/>
                <a:gd name="T39" fmla="*/ 29369 h 64"/>
                <a:gd name="T40" fmla="*/ 207736 w 168"/>
                <a:gd name="T41" fmla="*/ 14684 h 64"/>
                <a:gd name="T42" fmla="*/ 173113 w 168"/>
                <a:gd name="T43" fmla="*/ 29369 h 64"/>
                <a:gd name="T44" fmla="*/ 173113 w 168"/>
                <a:gd name="T45" fmla="*/ 14684 h 64"/>
                <a:gd name="T46" fmla="*/ 155802 w 168"/>
                <a:gd name="T47" fmla="*/ 14684 h 64"/>
                <a:gd name="T48" fmla="*/ 69245 w 168"/>
                <a:gd name="T49" fmla="*/ 29369 h 64"/>
                <a:gd name="T50" fmla="*/ 17311 w 168"/>
                <a:gd name="T51" fmla="*/ 58738 h 6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68"/>
                <a:gd name="T79" fmla="*/ 0 h 64"/>
                <a:gd name="T80" fmla="*/ 168 w 168"/>
                <a:gd name="T81" fmla="*/ 64 h 6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68" h="64">
                  <a:moveTo>
                    <a:pt x="8" y="32"/>
                  </a:moveTo>
                  <a:lnTo>
                    <a:pt x="16" y="32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48" y="40"/>
                  </a:lnTo>
                  <a:lnTo>
                    <a:pt x="8" y="48"/>
                  </a:lnTo>
                  <a:lnTo>
                    <a:pt x="0" y="56"/>
                  </a:lnTo>
                  <a:lnTo>
                    <a:pt x="24" y="56"/>
                  </a:lnTo>
                  <a:lnTo>
                    <a:pt x="16" y="64"/>
                  </a:lnTo>
                  <a:lnTo>
                    <a:pt x="96" y="56"/>
                  </a:lnTo>
                  <a:lnTo>
                    <a:pt x="112" y="64"/>
                  </a:lnTo>
                  <a:lnTo>
                    <a:pt x="128" y="64"/>
                  </a:lnTo>
                  <a:lnTo>
                    <a:pt x="160" y="48"/>
                  </a:lnTo>
                  <a:lnTo>
                    <a:pt x="136" y="40"/>
                  </a:lnTo>
                  <a:lnTo>
                    <a:pt x="136" y="32"/>
                  </a:lnTo>
                  <a:lnTo>
                    <a:pt x="144" y="32"/>
                  </a:lnTo>
                  <a:lnTo>
                    <a:pt x="144" y="16"/>
                  </a:lnTo>
                  <a:lnTo>
                    <a:pt x="168" y="8"/>
                  </a:lnTo>
                  <a:lnTo>
                    <a:pt x="152" y="0"/>
                  </a:lnTo>
                  <a:lnTo>
                    <a:pt x="128" y="16"/>
                  </a:lnTo>
                  <a:lnTo>
                    <a:pt x="96" y="8"/>
                  </a:lnTo>
                  <a:lnTo>
                    <a:pt x="80" y="16"/>
                  </a:lnTo>
                  <a:lnTo>
                    <a:pt x="80" y="8"/>
                  </a:lnTo>
                  <a:lnTo>
                    <a:pt x="72" y="8"/>
                  </a:lnTo>
                  <a:lnTo>
                    <a:pt x="32" y="16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Freeform 240">
              <a:extLst>
                <a:ext uri="{FF2B5EF4-FFF2-40B4-BE49-F238E27FC236}">
                  <a16:creationId xmlns:a16="http://schemas.microsoft.com/office/drawing/2014/main" id="{1C8B0473-995B-4C70-92FF-6CA23080A00A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3077964" y="1638696"/>
              <a:ext cx="326395" cy="94760"/>
            </a:xfrm>
            <a:custGeom>
              <a:avLst/>
              <a:gdLst>
                <a:gd name="T0" fmla="*/ 0 w 120"/>
                <a:gd name="T1" fmla="*/ 58420 h 40"/>
                <a:gd name="T2" fmla="*/ 17251 w 120"/>
                <a:gd name="T3" fmla="*/ 58420 h 40"/>
                <a:gd name="T4" fmla="*/ 17251 w 120"/>
                <a:gd name="T5" fmla="*/ 73025 h 40"/>
                <a:gd name="T6" fmla="*/ 69003 w 120"/>
                <a:gd name="T7" fmla="*/ 73025 h 40"/>
                <a:gd name="T8" fmla="*/ 138007 w 120"/>
                <a:gd name="T9" fmla="*/ 43815 h 40"/>
                <a:gd name="T10" fmla="*/ 258763 w 120"/>
                <a:gd name="T11" fmla="*/ 29210 h 40"/>
                <a:gd name="T12" fmla="*/ 241512 w 120"/>
                <a:gd name="T13" fmla="*/ 14605 h 40"/>
                <a:gd name="T14" fmla="*/ 172509 w 120"/>
                <a:gd name="T15" fmla="*/ 0 h 40"/>
                <a:gd name="T16" fmla="*/ 86254 w 120"/>
                <a:gd name="T17" fmla="*/ 14605 h 40"/>
                <a:gd name="T18" fmla="*/ 86254 w 120"/>
                <a:gd name="T19" fmla="*/ 29210 h 40"/>
                <a:gd name="T20" fmla="*/ 0 w 120"/>
                <a:gd name="T21" fmla="*/ 58420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0"/>
                <a:gd name="T34" fmla="*/ 0 h 40"/>
                <a:gd name="T35" fmla="*/ 120 w 120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0" h="40">
                  <a:moveTo>
                    <a:pt x="0" y="32"/>
                  </a:moveTo>
                  <a:lnTo>
                    <a:pt x="8" y="32"/>
                  </a:lnTo>
                  <a:lnTo>
                    <a:pt x="8" y="40"/>
                  </a:lnTo>
                  <a:lnTo>
                    <a:pt x="32" y="40"/>
                  </a:lnTo>
                  <a:lnTo>
                    <a:pt x="64" y="24"/>
                  </a:lnTo>
                  <a:lnTo>
                    <a:pt x="120" y="16"/>
                  </a:lnTo>
                  <a:lnTo>
                    <a:pt x="112" y="8"/>
                  </a:lnTo>
                  <a:lnTo>
                    <a:pt x="80" y="0"/>
                  </a:lnTo>
                  <a:lnTo>
                    <a:pt x="40" y="8"/>
                  </a:lnTo>
                  <a:lnTo>
                    <a:pt x="40" y="16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Freeform 241">
              <a:extLst>
                <a:ext uri="{FF2B5EF4-FFF2-40B4-BE49-F238E27FC236}">
                  <a16:creationId xmlns:a16="http://schemas.microsoft.com/office/drawing/2014/main" id="{4ED0C2C9-1524-4EBF-900A-91BC84FF3CCA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1049513" y="2289658"/>
              <a:ext cx="64077" cy="37080"/>
            </a:xfrm>
            <a:custGeom>
              <a:avLst/>
              <a:gdLst>
                <a:gd name="T0" fmla="*/ 0 w 24"/>
                <a:gd name="T1" fmla="*/ 28575 h 16"/>
                <a:gd name="T2" fmla="*/ 50800 w 24"/>
                <a:gd name="T3" fmla="*/ 0 h 16"/>
                <a:gd name="T4" fmla="*/ 33867 w 24"/>
                <a:gd name="T5" fmla="*/ 0 h 16"/>
                <a:gd name="T6" fmla="*/ 0 w 24"/>
                <a:gd name="T7" fmla="*/ 28575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16"/>
                <a:gd name="T14" fmla="*/ 24 w 24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16">
                  <a:moveTo>
                    <a:pt x="0" y="16"/>
                  </a:moveTo>
                  <a:lnTo>
                    <a:pt x="24" y="0"/>
                  </a:lnTo>
                  <a:lnTo>
                    <a:pt x="16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eform 242">
              <a:extLst>
                <a:ext uri="{FF2B5EF4-FFF2-40B4-BE49-F238E27FC236}">
                  <a16:creationId xmlns:a16="http://schemas.microsoft.com/office/drawing/2014/main" id="{F05C0456-1DB5-4EAD-BF4E-0FA52B5E99E0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11540192" y="1964177"/>
              <a:ext cx="108131" cy="18541"/>
            </a:xfrm>
            <a:custGeom>
              <a:avLst/>
              <a:gdLst>
                <a:gd name="T0" fmla="*/ 0 w 40"/>
                <a:gd name="T1" fmla="*/ 0 h 8"/>
                <a:gd name="T2" fmla="*/ 17145 w 40"/>
                <a:gd name="T3" fmla="*/ 14288 h 8"/>
                <a:gd name="T4" fmla="*/ 68580 w 40"/>
                <a:gd name="T5" fmla="*/ 14288 h 8"/>
                <a:gd name="T6" fmla="*/ 85725 w 40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8"/>
                <a:gd name="T14" fmla="*/ 40 w 40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8">
                  <a:moveTo>
                    <a:pt x="0" y="0"/>
                  </a:moveTo>
                  <a:lnTo>
                    <a:pt x="8" y="8"/>
                  </a:lnTo>
                  <a:lnTo>
                    <a:pt x="32" y="8"/>
                  </a:lnTo>
                  <a:lnTo>
                    <a:pt x="4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Line 243">
              <a:extLst>
                <a:ext uri="{FF2B5EF4-FFF2-40B4-BE49-F238E27FC236}">
                  <a16:creationId xmlns:a16="http://schemas.microsoft.com/office/drawing/2014/main" id="{66BB97DC-E4A1-4551-BDC9-FC9FC1724EBB}"/>
                </a:ext>
              </a:extLst>
            </p:cNvPr>
            <p:cNvSpPr>
              <a:spLocks noChangeShapeType="1"/>
            </p:cNvSpPr>
            <p:nvPr>
              <p:custDataLst>
                <p:tags r:id="rId200"/>
              </p:custDataLst>
            </p:nvPr>
          </p:nvSpPr>
          <p:spPr bwMode="auto">
            <a:xfrm flipV="1">
              <a:off x="983432" y="2326738"/>
              <a:ext cx="66081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Line 244">
              <a:extLst>
                <a:ext uri="{FF2B5EF4-FFF2-40B4-BE49-F238E27FC236}">
                  <a16:creationId xmlns:a16="http://schemas.microsoft.com/office/drawing/2014/main" id="{3F4F4329-1422-430B-A5D0-91E8856359CF}"/>
                </a:ext>
              </a:extLst>
            </p:cNvPr>
            <p:cNvSpPr>
              <a:spLocks noChangeShapeType="1"/>
            </p:cNvSpPr>
            <p:nvPr>
              <p:custDataLst>
                <p:tags r:id="rId201"/>
              </p:custDataLst>
            </p:nvPr>
          </p:nvSpPr>
          <p:spPr bwMode="auto">
            <a:xfrm>
              <a:off x="11540192" y="1982718"/>
              <a:ext cx="86105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Freeform 245">
              <a:extLst>
                <a:ext uri="{FF2B5EF4-FFF2-40B4-BE49-F238E27FC236}">
                  <a16:creationId xmlns:a16="http://schemas.microsoft.com/office/drawing/2014/main" id="{70BCF5FF-9484-40DC-9E88-2AE6F0601615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1375906" y="2077478"/>
              <a:ext cx="66081" cy="20600"/>
            </a:xfrm>
            <a:custGeom>
              <a:avLst/>
              <a:gdLst>
                <a:gd name="T0" fmla="*/ 0 w 24"/>
                <a:gd name="T1" fmla="*/ 0 h 8"/>
                <a:gd name="T2" fmla="*/ 17463 w 24"/>
                <a:gd name="T3" fmla="*/ 15875 h 8"/>
                <a:gd name="T4" fmla="*/ 52388 w 24"/>
                <a:gd name="T5" fmla="*/ 0 h 8"/>
                <a:gd name="T6" fmla="*/ 0 w 2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8"/>
                <a:gd name="T14" fmla="*/ 24 w 2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8">
                  <a:moveTo>
                    <a:pt x="0" y="0"/>
                  </a:moveTo>
                  <a:lnTo>
                    <a:pt x="8" y="8"/>
                  </a:lnTo>
                  <a:lnTo>
                    <a:pt x="2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eform 246">
              <a:extLst>
                <a:ext uri="{FF2B5EF4-FFF2-40B4-BE49-F238E27FC236}">
                  <a16:creationId xmlns:a16="http://schemas.microsoft.com/office/drawing/2014/main" id="{D9731B2B-D965-4940-8A7E-E48299753F2B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1616197" y="2135158"/>
              <a:ext cx="108131" cy="57680"/>
            </a:xfrm>
            <a:custGeom>
              <a:avLst/>
              <a:gdLst>
                <a:gd name="T0" fmla="*/ 0 w 40"/>
                <a:gd name="T1" fmla="*/ 44450 h 24"/>
                <a:gd name="T2" fmla="*/ 68580 w 40"/>
                <a:gd name="T3" fmla="*/ 29633 h 24"/>
                <a:gd name="T4" fmla="*/ 68580 w 40"/>
                <a:gd name="T5" fmla="*/ 14817 h 24"/>
                <a:gd name="T6" fmla="*/ 85725 w 40"/>
                <a:gd name="T7" fmla="*/ 14817 h 24"/>
                <a:gd name="T8" fmla="*/ 85725 w 40"/>
                <a:gd name="T9" fmla="*/ 0 h 24"/>
                <a:gd name="T10" fmla="*/ 0 w 40"/>
                <a:gd name="T11" fmla="*/ 4445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24"/>
                <a:gd name="T20" fmla="*/ 40 w 40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24">
                  <a:moveTo>
                    <a:pt x="0" y="24"/>
                  </a:moveTo>
                  <a:lnTo>
                    <a:pt x="32" y="16"/>
                  </a:lnTo>
                  <a:lnTo>
                    <a:pt x="32" y="8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Freeform 247">
              <a:extLst>
                <a:ext uri="{FF2B5EF4-FFF2-40B4-BE49-F238E27FC236}">
                  <a16:creationId xmlns:a16="http://schemas.microsoft.com/office/drawing/2014/main" id="{A95449E5-3E2B-464C-A7BA-F1B7615028CA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2116802" y="2289658"/>
              <a:ext cx="66081" cy="76221"/>
            </a:xfrm>
            <a:custGeom>
              <a:avLst/>
              <a:gdLst>
                <a:gd name="T0" fmla="*/ 17463 w 24"/>
                <a:gd name="T1" fmla="*/ 0 h 32"/>
                <a:gd name="T2" fmla="*/ 0 w 24"/>
                <a:gd name="T3" fmla="*/ 14685 h 32"/>
                <a:gd name="T4" fmla="*/ 0 w 24"/>
                <a:gd name="T5" fmla="*/ 44053 h 32"/>
                <a:gd name="T6" fmla="*/ 17463 w 24"/>
                <a:gd name="T7" fmla="*/ 58738 h 32"/>
                <a:gd name="T8" fmla="*/ 17463 w 24"/>
                <a:gd name="T9" fmla="*/ 44053 h 32"/>
                <a:gd name="T10" fmla="*/ 52388 w 24"/>
                <a:gd name="T11" fmla="*/ 0 h 32"/>
                <a:gd name="T12" fmla="*/ 17463 w 24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32"/>
                <a:gd name="T23" fmla="*/ 24 w 2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32">
                  <a:moveTo>
                    <a:pt x="8" y="0"/>
                  </a:moveTo>
                  <a:lnTo>
                    <a:pt x="0" y="8"/>
                  </a:lnTo>
                  <a:lnTo>
                    <a:pt x="0" y="24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24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eform 248">
              <a:extLst>
                <a:ext uri="{FF2B5EF4-FFF2-40B4-BE49-F238E27FC236}">
                  <a16:creationId xmlns:a16="http://schemas.microsoft.com/office/drawing/2014/main" id="{BBF1A77D-D171-43F8-81AB-896755C7BFDD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2182882" y="2402959"/>
              <a:ext cx="88106" cy="96821"/>
            </a:xfrm>
            <a:custGeom>
              <a:avLst/>
              <a:gdLst>
                <a:gd name="T0" fmla="*/ 0 w 32"/>
                <a:gd name="T1" fmla="*/ 0 h 40"/>
                <a:gd name="T2" fmla="*/ 0 w 32"/>
                <a:gd name="T3" fmla="*/ 14923 h 40"/>
                <a:gd name="T4" fmla="*/ 17463 w 32"/>
                <a:gd name="T5" fmla="*/ 29845 h 40"/>
                <a:gd name="T6" fmla="*/ 17463 w 32"/>
                <a:gd name="T7" fmla="*/ 44768 h 40"/>
                <a:gd name="T8" fmla="*/ 34925 w 32"/>
                <a:gd name="T9" fmla="*/ 44768 h 40"/>
                <a:gd name="T10" fmla="*/ 34925 w 32"/>
                <a:gd name="T11" fmla="*/ 59690 h 40"/>
                <a:gd name="T12" fmla="*/ 52387 w 32"/>
                <a:gd name="T13" fmla="*/ 74613 h 40"/>
                <a:gd name="T14" fmla="*/ 69850 w 32"/>
                <a:gd name="T15" fmla="*/ 59690 h 40"/>
                <a:gd name="T16" fmla="*/ 52387 w 32"/>
                <a:gd name="T17" fmla="*/ 14923 h 40"/>
                <a:gd name="T18" fmla="*/ 0 w 32"/>
                <a:gd name="T19" fmla="*/ 0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40"/>
                <a:gd name="T32" fmla="*/ 32 w 32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40">
                  <a:moveTo>
                    <a:pt x="0" y="0"/>
                  </a:moveTo>
                  <a:lnTo>
                    <a:pt x="0" y="8"/>
                  </a:lnTo>
                  <a:lnTo>
                    <a:pt x="8" y="16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16" y="32"/>
                  </a:lnTo>
                  <a:lnTo>
                    <a:pt x="24" y="40"/>
                  </a:lnTo>
                  <a:lnTo>
                    <a:pt x="32" y="32"/>
                  </a:lnTo>
                  <a:lnTo>
                    <a:pt x="24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Freeform 249">
              <a:extLst>
                <a:ext uri="{FF2B5EF4-FFF2-40B4-BE49-F238E27FC236}">
                  <a16:creationId xmlns:a16="http://schemas.microsoft.com/office/drawing/2014/main" id="{011AACC2-6719-48C0-8B81-2498844BC68B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4603808" y="1407975"/>
              <a:ext cx="1461767" cy="690103"/>
            </a:xfrm>
            <a:custGeom>
              <a:avLst/>
              <a:gdLst>
                <a:gd name="T0" fmla="*/ 34593 w 536"/>
                <a:gd name="T1" fmla="*/ 103408 h 288"/>
                <a:gd name="T2" fmla="*/ 69187 w 536"/>
                <a:gd name="T3" fmla="*/ 118181 h 288"/>
                <a:gd name="T4" fmla="*/ 34593 w 536"/>
                <a:gd name="T5" fmla="*/ 132953 h 288"/>
                <a:gd name="T6" fmla="*/ 34593 w 536"/>
                <a:gd name="T7" fmla="*/ 147726 h 288"/>
                <a:gd name="T8" fmla="*/ 224856 w 536"/>
                <a:gd name="T9" fmla="*/ 147726 h 288"/>
                <a:gd name="T10" fmla="*/ 224856 w 536"/>
                <a:gd name="T11" fmla="*/ 177271 h 288"/>
                <a:gd name="T12" fmla="*/ 224856 w 536"/>
                <a:gd name="T13" fmla="*/ 206816 h 288"/>
                <a:gd name="T14" fmla="*/ 207560 w 536"/>
                <a:gd name="T15" fmla="*/ 236361 h 288"/>
                <a:gd name="T16" fmla="*/ 224856 w 536"/>
                <a:gd name="T17" fmla="*/ 251134 h 288"/>
                <a:gd name="T18" fmla="*/ 242153 w 536"/>
                <a:gd name="T19" fmla="*/ 251134 h 288"/>
                <a:gd name="T20" fmla="*/ 207560 w 536"/>
                <a:gd name="T21" fmla="*/ 265907 h 288"/>
                <a:gd name="T22" fmla="*/ 207560 w 536"/>
                <a:gd name="T23" fmla="*/ 295452 h 288"/>
                <a:gd name="T24" fmla="*/ 259450 w 536"/>
                <a:gd name="T25" fmla="*/ 295452 h 288"/>
                <a:gd name="T26" fmla="*/ 207560 w 536"/>
                <a:gd name="T27" fmla="*/ 310224 h 288"/>
                <a:gd name="T28" fmla="*/ 155670 w 536"/>
                <a:gd name="T29" fmla="*/ 384087 h 288"/>
                <a:gd name="T30" fmla="*/ 155670 w 536"/>
                <a:gd name="T31" fmla="*/ 413632 h 288"/>
                <a:gd name="T32" fmla="*/ 172966 w 536"/>
                <a:gd name="T33" fmla="*/ 443177 h 288"/>
                <a:gd name="T34" fmla="*/ 207560 w 536"/>
                <a:gd name="T35" fmla="*/ 502268 h 288"/>
                <a:gd name="T36" fmla="*/ 276746 w 536"/>
                <a:gd name="T37" fmla="*/ 531813 h 288"/>
                <a:gd name="T38" fmla="*/ 345933 w 536"/>
                <a:gd name="T39" fmla="*/ 472723 h 288"/>
                <a:gd name="T40" fmla="*/ 397823 w 536"/>
                <a:gd name="T41" fmla="*/ 443177 h 288"/>
                <a:gd name="T42" fmla="*/ 415119 w 536"/>
                <a:gd name="T43" fmla="*/ 398860 h 288"/>
                <a:gd name="T44" fmla="*/ 449713 w 536"/>
                <a:gd name="T45" fmla="*/ 384087 h 288"/>
                <a:gd name="T46" fmla="*/ 639976 w 536"/>
                <a:gd name="T47" fmla="*/ 324997 h 288"/>
                <a:gd name="T48" fmla="*/ 847535 w 536"/>
                <a:gd name="T49" fmla="*/ 280679 h 288"/>
                <a:gd name="T50" fmla="*/ 812942 w 536"/>
                <a:gd name="T51" fmla="*/ 265907 h 288"/>
                <a:gd name="T52" fmla="*/ 812942 w 536"/>
                <a:gd name="T53" fmla="*/ 265907 h 288"/>
                <a:gd name="T54" fmla="*/ 830239 w 536"/>
                <a:gd name="T55" fmla="*/ 251134 h 288"/>
                <a:gd name="T56" fmla="*/ 882129 w 536"/>
                <a:gd name="T57" fmla="*/ 265907 h 288"/>
                <a:gd name="T58" fmla="*/ 830239 w 536"/>
                <a:gd name="T59" fmla="*/ 221589 h 288"/>
                <a:gd name="T60" fmla="*/ 899425 w 536"/>
                <a:gd name="T61" fmla="*/ 221589 h 288"/>
                <a:gd name="T62" fmla="*/ 934018 w 536"/>
                <a:gd name="T63" fmla="*/ 206816 h 288"/>
                <a:gd name="T64" fmla="*/ 916722 w 536"/>
                <a:gd name="T65" fmla="*/ 192044 h 288"/>
                <a:gd name="T66" fmla="*/ 968612 w 536"/>
                <a:gd name="T67" fmla="*/ 177271 h 288"/>
                <a:gd name="T68" fmla="*/ 968612 w 536"/>
                <a:gd name="T69" fmla="*/ 147726 h 288"/>
                <a:gd name="T70" fmla="*/ 934018 w 536"/>
                <a:gd name="T71" fmla="*/ 132953 h 288"/>
                <a:gd name="T72" fmla="*/ 1003205 w 536"/>
                <a:gd name="T73" fmla="*/ 118181 h 288"/>
                <a:gd name="T74" fmla="*/ 1003205 w 536"/>
                <a:gd name="T75" fmla="*/ 103408 h 288"/>
                <a:gd name="T76" fmla="*/ 1072392 w 536"/>
                <a:gd name="T77" fmla="*/ 59090 h 288"/>
                <a:gd name="T78" fmla="*/ 1072392 w 536"/>
                <a:gd name="T79" fmla="*/ 29545 h 288"/>
                <a:gd name="T80" fmla="*/ 985908 w 536"/>
                <a:gd name="T81" fmla="*/ 29545 h 288"/>
                <a:gd name="T82" fmla="*/ 1020502 w 536"/>
                <a:gd name="T83" fmla="*/ 14773 h 288"/>
                <a:gd name="T84" fmla="*/ 622679 w 536"/>
                <a:gd name="T85" fmla="*/ 14773 h 288"/>
                <a:gd name="T86" fmla="*/ 415119 w 536"/>
                <a:gd name="T87" fmla="*/ 29545 h 288"/>
                <a:gd name="T88" fmla="*/ 294043 w 536"/>
                <a:gd name="T89" fmla="*/ 44318 h 288"/>
                <a:gd name="T90" fmla="*/ 242153 w 536"/>
                <a:gd name="T91" fmla="*/ 44318 h 288"/>
                <a:gd name="T92" fmla="*/ 190263 w 536"/>
                <a:gd name="T93" fmla="*/ 59090 h 288"/>
                <a:gd name="T94" fmla="*/ 155670 w 536"/>
                <a:gd name="T95" fmla="*/ 88635 h 288"/>
                <a:gd name="T96" fmla="*/ 0 w 536"/>
                <a:gd name="T97" fmla="*/ 103408 h 2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6"/>
                <a:gd name="T148" fmla="*/ 0 h 288"/>
                <a:gd name="T149" fmla="*/ 536 w 536"/>
                <a:gd name="T150" fmla="*/ 288 h 28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6" h="288">
                  <a:moveTo>
                    <a:pt x="0" y="56"/>
                  </a:moveTo>
                  <a:lnTo>
                    <a:pt x="16" y="56"/>
                  </a:lnTo>
                  <a:lnTo>
                    <a:pt x="16" y="64"/>
                  </a:lnTo>
                  <a:lnTo>
                    <a:pt x="32" y="64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8" y="72"/>
                  </a:lnTo>
                  <a:lnTo>
                    <a:pt x="16" y="80"/>
                  </a:lnTo>
                  <a:lnTo>
                    <a:pt x="72" y="80"/>
                  </a:lnTo>
                  <a:lnTo>
                    <a:pt x="104" y="80"/>
                  </a:lnTo>
                  <a:lnTo>
                    <a:pt x="96" y="88"/>
                  </a:lnTo>
                  <a:lnTo>
                    <a:pt x="104" y="96"/>
                  </a:lnTo>
                  <a:lnTo>
                    <a:pt x="104" y="104"/>
                  </a:lnTo>
                  <a:lnTo>
                    <a:pt x="104" y="112"/>
                  </a:lnTo>
                  <a:lnTo>
                    <a:pt x="96" y="120"/>
                  </a:lnTo>
                  <a:lnTo>
                    <a:pt x="96" y="128"/>
                  </a:lnTo>
                  <a:lnTo>
                    <a:pt x="88" y="128"/>
                  </a:lnTo>
                  <a:lnTo>
                    <a:pt x="104" y="136"/>
                  </a:lnTo>
                  <a:lnTo>
                    <a:pt x="112" y="128"/>
                  </a:lnTo>
                  <a:lnTo>
                    <a:pt x="112" y="136"/>
                  </a:lnTo>
                  <a:lnTo>
                    <a:pt x="128" y="144"/>
                  </a:lnTo>
                  <a:lnTo>
                    <a:pt x="96" y="144"/>
                  </a:lnTo>
                  <a:lnTo>
                    <a:pt x="80" y="160"/>
                  </a:lnTo>
                  <a:lnTo>
                    <a:pt x="96" y="160"/>
                  </a:lnTo>
                  <a:lnTo>
                    <a:pt x="120" y="152"/>
                  </a:lnTo>
                  <a:lnTo>
                    <a:pt x="120" y="160"/>
                  </a:lnTo>
                  <a:lnTo>
                    <a:pt x="112" y="168"/>
                  </a:lnTo>
                  <a:lnTo>
                    <a:pt x="96" y="168"/>
                  </a:lnTo>
                  <a:lnTo>
                    <a:pt x="88" y="176"/>
                  </a:lnTo>
                  <a:lnTo>
                    <a:pt x="72" y="208"/>
                  </a:lnTo>
                  <a:lnTo>
                    <a:pt x="80" y="208"/>
                  </a:lnTo>
                  <a:lnTo>
                    <a:pt x="72" y="224"/>
                  </a:lnTo>
                  <a:lnTo>
                    <a:pt x="80" y="232"/>
                  </a:lnTo>
                  <a:lnTo>
                    <a:pt x="80" y="240"/>
                  </a:lnTo>
                  <a:lnTo>
                    <a:pt x="88" y="264"/>
                  </a:lnTo>
                  <a:lnTo>
                    <a:pt x="96" y="272"/>
                  </a:lnTo>
                  <a:lnTo>
                    <a:pt x="112" y="280"/>
                  </a:lnTo>
                  <a:lnTo>
                    <a:pt x="128" y="288"/>
                  </a:lnTo>
                  <a:lnTo>
                    <a:pt x="136" y="288"/>
                  </a:lnTo>
                  <a:lnTo>
                    <a:pt x="160" y="256"/>
                  </a:lnTo>
                  <a:lnTo>
                    <a:pt x="160" y="248"/>
                  </a:lnTo>
                  <a:lnTo>
                    <a:pt x="184" y="240"/>
                  </a:lnTo>
                  <a:lnTo>
                    <a:pt x="192" y="224"/>
                  </a:lnTo>
                  <a:lnTo>
                    <a:pt x="192" y="216"/>
                  </a:lnTo>
                  <a:lnTo>
                    <a:pt x="200" y="216"/>
                  </a:lnTo>
                  <a:lnTo>
                    <a:pt x="208" y="208"/>
                  </a:lnTo>
                  <a:lnTo>
                    <a:pt x="248" y="208"/>
                  </a:lnTo>
                  <a:lnTo>
                    <a:pt x="296" y="176"/>
                  </a:lnTo>
                  <a:lnTo>
                    <a:pt x="352" y="168"/>
                  </a:lnTo>
                  <a:lnTo>
                    <a:pt x="392" y="152"/>
                  </a:lnTo>
                  <a:lnTo>
                    <a:pt x="400" y="152"/>
                  </a:lnTo>
                  <a:lnTo>
                    <a:pt x="376" y="144"/>
                  </a:lnTo>
                  <a:lnTo>
                    <a:pt x="360" y="152"/>
                  </a:lnTo>
                  <a:lnTo>
                    <a:pt x="376" y="144"/>
                  </a:lnTo>
                  <a:lnTo>
                    <a:pt x="376" y="136"/>
                  </a:lnTo>
                  <a:lnTo>
                    <a:pt x="384" y="136"/>
                  </a:lnTo>
                  <a:lnTo>
                    <a:pt x="384" y="144"/>
                  </a:lnTo>
                  <a:lnTo>
                    <a:pt x="408" y="144"/>
                  </a:lnTo>
                  <a:lnTo>
                    <a:pt x="408" y="136"/>
                  </a:lnTo>
                  <a:lnTo>
                    <a:pt x="384" y="120"/>
                  </a:lnTo>
                  <a:lnTo>
                    <a:pt x="408" y="128"/>
                  </a:lnTo>
                  <a:lnTo>
                    <a:pt x="416" y="120"/>
                  </a:lnTo>
                  <a:lnTo>
                    <a:pt x="408" y="112"/>
                  </a:lnTo>
                  <a:lnTo>
                    <a:pt x="432" y="112"/>
                  </a:lnTo>
                  <a:lnTo>
                    <a:pt x="432" y="104"/>
                  </a:lnTo>
                  <a:lnTo>
                    <a:pt x="424" y="104"/>
                  </a:lnTo>
                  <a:lnTo>
                    <a:pt x="440" y="104"/>
                  </a:lnTo>
                  <a:lnTo>
                    <a:pt x="448" y="96"/>
                  </a:lnTo>
                  <a:lnTo>
                    <a:pt x="440" y="96"/>
                  </a:lnTo>
                  <a:lnTo>
                    <a:pt x="448" y="80"/>
                  </a:lnTo>
                  <a:lnTo>
                    <a:pt x="432" y="80"/>
                  </a:lnTo>
                  <a:lnTo>
                    <a:pt x="432" y="72"/>
                  </a:lnTo>
                  <a:lnTo>
                    <a:pt x="464" y="72"/>
                  </a:lnTo>
                  <a:lnTo>
                    <a:pt x="464" y="64"/>
                  </a:lnTo>
                  <a:lnTo>
                    <a:pt x="456" y="56"/>
                  </a:lnTo>
                  <a:lnTo>
                    <a:pt x="464" y="56"/>
                  </a:lnTo>
                  <a:lnTo>
                    <a:pt x="464" y="48"/>
                  </a:lnTo>
                  <a:lnTo>
                    <a:pt x="496" y="32"/>
                  </a:lnTo>
                  <a:lnTo>
                    <a:pt x="536" y="24"/>
                  </a:lnTo>
                  <a:lnTo>
                    <a:pt x="496" y="16"/>
                  </a:lnTo>
                  <a:lnTo>
                    <a:pt x="424" y="24"/>
                  </a:lnTo>
                  <a:lnTo>
                    <a:pt x="456" y="16"/>
                  </a:lnTo>
                  <a:lnTo>
                    <a:pt x="424" y="16"/>
                  </a:lnTo>
                  <a:lnTo>
                    <a:pt x="472" y="8"/>
                  </a:lnTo>
                  <a:lnTo>
                    <a:pt x="416" y="0"/>
                  </a:lnTo>
                  <a:lnTo>
                    <a:pt x="288" y="8"/>
                  </a:lnTo>
                  <a:lnTo>
                    <a:pt x="216" y="16"/>
                  </a:lnTo>
                  <a:lnTo>
                    <a:pt x="192" y="16"/>
                  </a:lnTo>
                  <a:lnTo>
                    <a:pt x="128" y="16"/>
                  </a:lnTo>
                  <a:lnTo>
                    <a:pt x="136" y="24"/>
                  </a:lnTo>
                  <a:lnTo>
                    <a:pt x="128" y="24"/>
                  </a:lnTo>
                  <a:lnTo>
                    <a:pt x="112" y="24"/>
                  </a:lnTo>
                  <a:lnTo>
                    <a:pt x="64" y="32"/>
                  </a:lnTo>
                  <a:lnTo>
                    <a:pt x="88" y="32"/>
                  </a:lnTo>
                  <a:lnTo>
                    <a:pt x="88" y="40"/>
                  </a:lnTo>
                  <a:lnTo>
                    <a:pt x="72" y="48"/>
                  </a:lnTo>
                  <a:lnTo>
                    <a:pt x="8" y="48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Freeform 250">
              <a:extLst>
                <a:ext uri="{FF2B5EF4-FFF2-40B4-BE49-F238E27FC236}">
                  <a16:creationId xmlns:a16="http://schemas.microsoft.com/office/drawing/2014/main" id="{119A463B-C689-4427-887C-10055118CFE3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5584994" y="1885897"/>
              <a:ext cx="306371" cy="96821"/>
            </a:xfrm>
            <a:custGeom>
              <a:avLst/>
              <a:gdLst>
                <a:gd name="T0" fmla="*/ 0 w 112"/>
                <a:gd name="T1" fmla="*/ 14923 h 40"/>
                <a:gd name="T2" fmla="*/ 52047 w 112"/>
                <a:gd name="T3" fmla="*/ 29845 h 40"/>
                <a:gd name="T4" fmla="*/ 0 w 112"/>
                <a:gd name="T5" fmla="*/ 44768 h 40"/>
                <a:gd name="T6" fmla="*/ 34698 w 112"/>
                <a:gd name="T7" fmla="*/ 44768 h 40"/>
                <a:gd name="T8" fmla="*/ 52047 w 112"/>
                <a:gd name="T9" fmla="*/ 44768 h 40"/>
                <a:gd name="T10" fmla="*/ 17349 w 112"/>
                <a:gd name="T11" fmla="*/ 59690 h 40"/>
                <a:gd name="T12" fmla="*/ 104095 w 112"/>
                <a:gd name="T13" fmla="*/ 74613 h 40"/>
                <a:gd name="T14" fmla="*/ 208190 w 112"/>
                <a:gd name="T15" fmla="*/ 44768 h 40"/>
                <a:gd name="T16" fmla="*/ 225539 w 112"/>
                <a:gd name="T17" fmla="*/ 29845 h 40"/>
                <a:gd name="T18" fmla="*/ 242888 w 112"/>
                <a:gd name="T19" fmla="*/ 14923 h 40"/>
                <a:gd name="T20" fmla="*/ 225539 w 112"/>
                <a:gd name="T21" fmla="*/ 14923 h 40"/>
                <a:gd name="T22" fmla="*/ 225539 w 112"/>
                <a:gd name="T23" fmla="*/ 0 h 40"/>
                <a:gd name="T24" fmla="*/ 190841 w 112"/>
                <a:gd name="T25" fmla="*/ 0 h 40"/>
                <a:gd name="T26" fmla="*/ 156142 w 112"/>
                <a:gd name="T27" fmla="*/ 14923 h 40"/>
                <a:gd name="T28" fmla="*/ 104095 w 112"/>
                <a:gd name="T29" fmla="*/ 14923 h 40"/>
                <a:gd name="T30" fmla="*/ 104095 w 112"/>
                <a:gd name="T31" fmla="*/ 0 h 40"/>
                <a:gd name="T32" fmla="*/ 86746 w 112"/>
                <a:gd name="T33" fmla="*/ 14923 h 40"/>
                <a:gd name="T34" fmla="*/ 69397 w 112"/>
                <a:gd name="T35" fmla="*/ 29845 h 40"/>
                <a:gd name="T36" fmla="*/ 69397 w 112"/>
                <a:gd name="T37" fmla="*/ 14923 h 40"/>
                <a:gd name="T38" fmla="*/ 34698 w 112"/>
                <a:gd name="T39" fmla="*/ 0 h 40"/>
                <a:gd name="T40" fmla="*/ 0 w 112"/>
                <a:gd name="T41" fmla="*/ 14923 h 4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2"/>
                <a:gd name="T64" fmla="*/ 0 h 40"/>
                <a:gd name="T65" fmla="*/ 112 w 112"/>
                <a:gd name="T66" fmla="*/ 40 h 4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2" h="40">
                  <a:moveTo>
                    <a:pt x="0" y="8"/>
                  </a:moveTo>
                  <a:lnTo>
                    <a:pt x="24" y="16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8" y="32"/>
                  </a:lnTo>
                  <a:lnTo>
                    <a:pt x="48" y="40"/>
                  </a:lnTo>
                  <a:lnTo>
                    <a:pt x="96" y="24"/>
                  </a:lnTo>
                  <a:lnTo>
                    <a:pt x="104" y="16"/>
                  </a:lnTo>
                  <a:lnTo>
                    <a:pt x="112" y="8"/>
                  </a:lnTo>
                  <a:lnTo>
                    <a:pt x="104" y="8"/>
                  </a:lnTo>
                  <a:lnTo>
                    <a:pt x="104" y="0"/>
                  </a:lnTo>
                  <a:lnTo>
                    <a:pt x="88" y="0"/>
                  </a:lnTo>
                  <a:lnTo>
                    <a:pt x="72" y="8"/>
                  </a:lnTo>
                  <a:lnTo>
                    <a:pt x="48" y="8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16"/>
                  </a:lnTo>
                  <a:lnTo>
                    <a:pt x="32" y="8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Line 251">
              <a:extLst>
                <a:ext uri="{FF2B5EF4-FFF2-40B4-BE49-F238E27FC236}">
                  <a16:creationId xmlns:a16="http://schemas.microsoft.com/office/drawing/2014/main" id="{B4F1DF0B-A15F-40F9-9349-585C4DE13881}"/>
                </a:ext>
              </a:extLst>
            </p:cNvPr>
            <p:cNvSpPr>
              <a:spLocks noChangeShapeType="1"/>
            </p:cNvSpPr>
            <p:nvPr>
              <p:custDataLst>
                <p:tags r:id="rId208"/>
              </p:custDataLst>
            </p:nvPr>
          </p:nvSpPr>
          <p:spPr bwMode="auto">
            <a:xfrm flipV="1">
              <a:off x="6043549" y="1751997"/>
              <a:ext cx="22027" cy="20600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Line 252">
              <a:extLst>
                <a:ext uri="{FF2B5EF4-FFF2-40B4-BE49-F238E27FC236}">
                  <a16:creationId xmlns:a16="http://schemas.microsoft.com/office/drawing/2014/main" id="{39BDA5DF-C371-4C67-91C5-99A24D49A42A}"/>
                </a:ext>
              </a:extLst>
            </p:cNvPr>
            <p:cNvSpPr>
              <a:spLocks noChangeShapeType="1"/>
            </p:cNvSpPr>
            <p:nvPr>
              <p:custDataLst>
                <p:tags r:id="rId209"/>
              </p:custDataLst>
            </p:nvPr>
          </p:nvSpPr>
          <p:spPr bwMode="auto">
            <a:xfrm>
              <a:off x="5825284" y="1638696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eform 253">
              <a:extLst>
                <a:ext uri="{FF2B5EF4-FFF2-40B4-BE49-F238E27FC236}">
                  <a16:creationId xmlns:a16="http://schemas.microsoft.com/office/drawing/2014/main" id="{8A0EE2ED-99D6-4FDD-990D-59DF1683D206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721577" y="4681327"/>
              <a:ext cx="262318" cy="479982"/>
            </a:xfrm>
            <a:custGeom>
              <a:avLst/>
              <a:gdLst>
                <a:gd name="T0" fmla="*/ 0 w 96"/>
                <a:gd name="T1" fmla="*/ 266319 h 200"/>
                <a:gd name="T2" fmla="*/ 0 w 96"/>
                <a:gd name="T3" fmla="*/ 340297 h 200"/>
                <a:gd name="T4" fmla="*/ 17330 w 96"/>
                <a:gd name="T5" fmla="*/ 369888 h 200"/>
                <a:gd name="T6" fmla="*/ 34661 w 96"/>
                <a:gd name="T7" fmla="*/ 369888 h 200"/>
                <a:gd name="T8" fmla="*/ 86651 w 96"/>
                <a:gd name="T9" fmla="*/ 355092 h 200"/>
                <a:gd name="T10" fmla="*/ 103982 w 96"/>
                <a:gd name="T11" fmla="*/ 355092 h 200"/>
                <a:gd name="T12" fmla="*/ 173303 w 96"/>
                <a:gd name="T13" fmla="*/ 177546 h 200"/>
                <a:gd name="T14" fmla="*/ 190633 w 96"/>
                <a:gd name="T15" fmla="*/ 88773 h 200"/>
                <a:gd name="T16" fmla="*/ 190633 w 96"/>
                <a:gd name="T17" fmla="*/ 103569 h 200"/>
                <a:gd name="T18" fmla="*/ 207963 w 96"/>
                <a:gd name="T19" fmla="*/ 88773 h 200"/>
                <a:gd name="T20" fmla="*/ 190633 w 96"/>
                <a:gd name="T21" fmla="*/ 14796 h 200"/>
                <a:gd name="T22" fmla="*/ 173303 w 96"/>
                <a:gd name="T23" fmla="*/ 0 h 200"/>
                <a:gd name="T24" fmla="*/ 155972 w 96"/>
                <a:gd name="T25" fmla="*/ 29591 h 200"/>
                <a:gd name="T26" fmla="*/ 138642 w 96"/>
                <a:gd name="T27" fmla="*/ 44387 h 200"/>
                <a:gd name="T28" fmla="*/ 138642 w 96"/>
                <a:gd name="T29" fmla="*/ 73978 h 200"/>
                <a:gd name="T30" fmla="*/ 34661 w 96"/>
                <a:gd name="T31" fmla="*/ 103569 h 200"/>
                <a:gd name="T32" fmla="*/ 17330 w 96"/>
                <a:gd name="T33" fmla="*/ 147955 h 200"/>
                <a:gd name="T34" fmla="*/ 34661 w 96"/>
                <a:gd name="T35" fmla="*/ 221933 h 200"/>
                <a:gd name="T36" fmla="*/ 0 w 96"/>
                <a:gd name="T37" fmla="*/ 266319 h 20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6"/>
                <a:gd name="T58" fmla="*/ 0 h 200"/>
                <a:gd name="T59" fmla="*/ 96 w 96"/>
                <a:gd name="T60" fmla="*/ 200 h 20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6" h="200">
                  <a:moveTo>
                    <a:pt x="0" y="144"/>
                  </a:moveTo>
                  <a:lnTo>
                    <a:pt x="0" y="184"/>
                  </a:lnTo>
                  <a:lnTo>
                    <a:pt x="8" y="200"/>
                  </a:lnTo>
                  <a:lnTo>
                    <a:pt x="16" y="200"/>
                  </a:lnTo>
                  <a:lnTo>
                    <a:pt x="40" y="192"/>
                  </a:lnTo>
                  <a:lnTo>
                    <a:pt x="48" y="192"/>
                  </a:lnTo>
                  <a:lnTo>
                    <a:pt x="80" y="96"/>
                  </a:lnTo>
                  <a:lnTo>
                    <a:pt x="88" y="48"/>
                  </a:lnTo>
                  <a:lnTo>
                    <a:pt x="88" y="56"/>
                  </a:lnTo>
                  <a:lnTo>
                    <a:pt x="96" y="48"/>
                  </a:lnTo>
                  <a:lnTo>
                    <a:pt x="88" y="8"/>
                  </a:lnTo>
                  <a:lnTo>
                    <a:pt x="80" y="0"/>
                  </a:lnTo>
                  <a:lnTo>
                    <a:pt x="72" y="16"/>
                  </a:lnTo>
                  <a:lnTo>
                    <a:pt x="64" y="24"/>
                  </a:lnTo>
                  <a:lnTo>
                    <a:pt x="64" y="40"/>
                  </a:lnTo>
                  <a:lnTo>
                    <a:pt x="16" y="56"/>
                  </a:lnTo>
                  <a:lnTo>
                    <a:pt x="8" y="80"/>
                  </a:lnTo>
                  <a:lnTo>
                    <a:pt x="16" y="12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Freeform 254">
              <a:extLst>
                <a:ext uri="{FF2B5EF4-FFF2-40B4-BE49-F238E27FC236}">
                  <a16:creationId xmlns:a16="http://schemas.microsoft.com/office/drawing/2014/main" id="{7EC53C48-7FB0-4B2D-88AE-986E0E155A5A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094027" y="3781103"/>
              <a:ext cx="42051" cy="20600"/>
            </a:xfrm>
            <a:custGeom>
              <a:avLst/>
              <a:gdLst>
                <a:gd name="T0" fmla="*/ 0 w 16"/>
                <a:gd name="T1" fmla="*/ 0 h 8"/>
                <a:gd name="T2" fmla="*/ 16669 w 16"/>
                <a:gd name="T3" fmla="*/ 15875 h 8"/>
                <a:gd name="T4" fmla="*/ 33338 w 16"/>
                <a:gd name="T5" fmla="*/ 0 h 8"/>
                <a:gd name="T6" fmla="*/ 16669 w 16"/>
                <a:gd name="T7" fmla="*/ 0 h 8"/>
                <a:gd name="T8" fmla="*/ 0 w 1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0" name="Line 255">
              <a:extLst>
                <a:ext uri="{FF2B5EF4-FFF2-40B4-BE49-F238E27FC236}">
                  <a16:creationId xmlns:a16="http://schemas.microsoft.com/office/drawing/2014/main" id="{E0DC08F7-117D-47BC-98B0-5341662C62E7}"/>
                </a:ext>
              </a:extLst>
            </p:cNvPr>
            <p:cNvSpPr>
              <a:spLocks noChangeShapeType="1"/>
            </p:cNvSpPr>
            <p:nvPr>
              <p:custDataLst>
                <p:tags r:id="rId212"/>
              </p:custDataLst>
            </p:nvPr>
          </p:nvSpPr>
          <p:spPr bwMode="auto">
            <a:xfrm>
              <a:off x="9531765" y="3781103"/>
              <a:ext cx="4005" cy="391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Line 256">
              <a:extLst>
                <a:ext uri="{FF2B5EF4-FFF2-40B4-BE49-F238E27FC236}">
                  <a16:creationId xmlns:a16="http://schemas.microsoft.com/office/drawing/2014/main" id="{095F4B02-0C43-40EC-B1CC-74BE25733F98}"/>
                </a:ext>
              </a:extLst>
            </p:cNvPr>
            <p:cNvSpPr>
              <a:spLocks noChangeShapeType="1"/>
            </p:cNvSpPr>
            <p:nvPr>
              <p:custDataLst>
                <p:tags r:id="rId213"/>
              </p:custDataLst>
            </p:nvPr>
          </p:nvSpPr>
          <p:spPr bwMode="auto">
            <a:xfrm>
              <a:off x="9663925" y="4164264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Freeform 257">
              <a:extLst>
                <a:ext uri="{FF2B5EF4-FFF2-40B4-BE49-F238E27FC236}">
                  <a16:creationId xmlns:a16="http://schemas.microsoft.com/office/drawing/2014/main" id="{0F4187EF-93DE-4E74-9148-28CB0B7A28E2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9707978" y="4184864"/>
              <a:ext cx="22027" cy="37080"/>
            </a:xfrm>
            <a:custGeom>
              <a:avLst/>
              <a:gdLst>
                <a:gd name="T0" fmla="*/ 0 w 8"/>
                <a:gd name="T1" fmla="*/ 0 h 16"/>
                <a:gd name="T2" fmla="*/ 17463 w 8"/>
                <a:gd name="T3" fmla="*/ 28575 h 16"/>
                <a:gd name="T4" fmla="*/ 17463 w 8"/>
                <a:gd name="T5" fmla="*/ 14288 h 16"/>
                <a:gd name="T6" fmla="*/ 0 w 8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6"/>
                <a:gd name="T14" fmla="*/ 8 w 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6">
                  <a:moveTo>
                    <a:pt x="0" y="0"/>
                  </a:moveTo>
                  <a:lnTo>
                    <a:pt x="8" y="16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3" name="Freeform 258">
              <a:extLst>
                <a:ext uri="{FF2B5EF4-FFF2-40B4-BE49-F238E27FC236}">
                  <a16:creationId xmlns:a16="http://schemas.microsoft.com/office/drawing/2014/main" id="{50C2C3D8-27E1-4D99-8B76-3DF472008C1E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9772056" y="4279625"/>
              <a:ext cx="22027" cy="18541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14288 h 8"/>
                <a:gd name="T4" fmla="*/ 17463 w 8"/>
                <a:gd name="T5" fmla="*/ 14288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0" y="8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Freeform 259">
              <a:extLst>
                <a:ext uri="{FF2B5EF4-FFF2-40B4-BE49-F238E27FC236}">
                  <a16:creationId xmlns:a16="http://schemas.microsoft.com/office/drawing/2014/main" id="{AAF238E4-BB64-4703-9ACC-9691BD0EF9AB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9053186" y="3877924"/>
              <a:ext cx="86105" cy="133901"/>
            </a:xfrm>
            <a:custGeom>
              <a:avLst/>
              <a:gdLst>
                <a:gd name="T0" fmla="*/ 0 w 32"/>
                <a:gd name="T1" fmla="*/ 58965 h 56"/>
                <a:gd name="T2" fmla="*/ 17066 w 32"/>
                <a:gd name="T3" fmla="*/ 103188 h 56"/>
                <a:gd name="T4" fmla="*/ 51197 w 32"/>
                <a:gd name="T5" fmla="*/ 103188 h 56"/>
                <a:gd name="T6" fmla="*/ 68263 w 32"/>
                <a:gd name="T7" fmla="*/ 103188 h 56"/>
                <a:gd name="T8" fmla="*/ 68263 w 32"/>
                <a:gd name="T9" fmla="*/ 58965 h 56"/>
                <a:gd name="T10" fmla="*/ 34132 w 32"/>
                <a:gd name="T11" fmla="*/ 14741 h 56"/>
                <a:gd name="T12" fmla="*/ 17066 w 32"/>
                <a:gd name="T13" fmla="*/ 0 h 56"/>
                <a:gd name="T14" fmla="*/ 17066 w 32"/>
                <a:gd name="T15" fmla="*/ 14741 h 56"/>
                <a:gd name="T16" fmla="*/ 0 w 32"/>
                <a:gd name="T17" fmla="*/ 58965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56"/>
                <a:gd name="T29" fmla="*/ 32 w 32"/>
                <a:gd name="T30" fmla="*/ 56 h 5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56">
                  <a:moveTo>
                    <a:pt x="0" y="32"/>
                  </a:moveTo>
                  <a:lnTo>
                    <a:pt x="8" y="56"/>
                  </a:lnTo>
                  <a:lnTo>
                    <a:pt x="24" y="56"/>
                  </a:lnTo>
                  <a:lnTo>
                    <a:pt x="32" y="56"/>
                  </a:lnTo>
                  <a:lnTo>
                    <a:pt x="32" y="32"/>
                  </a:lnTo>
                  <a:lnTo>
                    <a:pt x="16" y="8"/>
                  </a:lnTo>
                  <a:lnTo>
                    <a:pt x="8" y="0"/>
                  </a:lnTo>
                  <a:lnTo>
                    <a:pt x="8" y="8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Freeform 260">
              <a:extLst>
                <a:ext uri="{FF2B5EF4-FFF2-40B4-BE49-F238E27FC236}">
                  <a16:creationId xmlns:a16="http://schemas.microsoft.com/office/drawing/2014/main" id="{27887312-740F-4988-A30C-7BE0789E3E8F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10056399" y="3513302"/>
              <a:ext cx="86105" cy="57680"/>
            </a:xfrm>
            <a:custGeom>
              <a:avLst/>
              <a:gdLst>
                <a:gd name="T0" fmla="*/ 0 w 32"/>
                <a:gd name="T1" fmla="*/ 14817 h 24"/>
                <a:gd name="T2" fmla="*/ 17066 w 32"/>
                <a:gd name="T3" fmla="*/ 44450 h 24"/>
                <a:gd name="T4" fmla="*/ 34132 w 32"/>
                <a:gd name="T5" fmla="*/ 44450 h 24"/>
                <a:gd name="T6" fmla="*/ 68263 w 32"/>
                <a:gd name="T7" fmla="*/ 29633 h 24"/>
                <a:gd name="T8" fmla="*/ 68263 w 32"/>
                <a:gd name="T9" fmla="*/ 0 h 24"/>
                <a:gd name="T10" fmla="*/ 34132 w 32"/>
                <a:gd name="T11" fmla="*/ 0 h 24"/>
                <a:gd name="T12" fmla="*/ 0 w 32"/>
                <a:gd name="T13" fmla="*/ 1481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24"/>
                <a:gd name="T23" fmla="*/ 32 w 32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24">
                  <a:moveTo>
                    <a:pt x="0" y="8"/>
                  </a:moveTo>
                  <a:lnTo>
                    <a:pt x="8" y="24"/>
                  </a:lnTo>
                  <a:lnTo>
                    <a:pt x="16" y="24"/>
                  </a:lnTo>
                  <a:lnTo>
                    <a:pt x="32" y="16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6" name="Freeform 261">
              <a:extLst>
                <a:ext uri="{FF2B5EF4-FFF2-40B4-BE49-F238E27FC236}">
                  <a16:creationId xmlns:a16="http://schemas.microsoft.com/office/drawing/2014/main" id="{EA1EDEAC-62C3-4675-803D-E87B805521F4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10448874" y="3321722"/>
              <a:ext cx="44053" cy="115360"/>
            </a:xfrm>
            <a:custGeom>
              <a:avLst/>
              <a:gdLst>
                <a:gd name="T0" fmla="*/ 0 w 16"/>
                <a:gd name="T1" fmla="*/ 44450 h 48"/>
                <a:gd name="T2" fmla="*/ 17463 w 16"/>
                <a:gd name="T3" fmla="*/ 74083 h 48"/>
                <a:gd name="T4" fmla="*/ 34925 w 16"/>
                <a:gd name="T5" fmla="*/ 88900 h 48"/>
                <a:gd name="T6" fmla="*/ 34925 w 16"/>
                <a:gd name="T7" fmla="*/ 0 h 48"/>
                <a:gd name="T8" fmla="*/ 17463 w 16"/>
                <a:gd name="T9" fmla="*/ 14817 h 48"/>
                <a:gd name="T10" fmla="*/ 0 w 16"/>
                <a:gd name="T11" fmla="*/ 4445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48"/>
                <a:gd name="T20" fmla="*/ 16 w 16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48">
                  <a:moveTo>
                    <a:pt x="0" y="24"/>
                  </a:moveTo>
                  <a:lnTo>
                    <a:pt x="8" y="40"/>
                  </a:lnTo>
                  <a:lnTo>
                    <a:pt x="16" y="48"/>
                  </a:lnTo>
                  <a:lnTo>
                    <a:pt x="16" y="0"/>
                  </a:lnTo>
                  <a:lnTo>
                    <a:pt x="8" y="8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Freeform 262">
              <a:extLst>
                <a:ext uri="{FF2B5EF4-FFF2-40B4-BE49-F238E27FC236}">
                  <a16:creationId xmlns:a16="http://schemas.microsoft.com/office/drawing/2014/main" id="{54AD1123-3A25-4D03-965D-2AAB04CBB0F2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10667137" y="3016841"/>
              <a:ext cx="86105" cy="94760"/>
            </a:xfrm>
            <a:custGeom>
              <a:avLst/>
              <a:gdLst>
                <a:gd name="T0" fmla="*/ 0 w 32"/>
                <a:gd name="T1" fmla="*/ 14605 h 40"/>
                <a:gd name="T2" fmla="*/ 17066 w 32"/>
                <a:gd name="T3" fmla="*/ 29210 h 40"/>
                <a:gd name="T4" fmla="*/ 17066 w 32"/>
                <a:gd name="T5" fmla="*/ 14605 h 40"/>
                <a:gd name="T6" fmla="*/ 34132 w 32"/>
                <a:gd name="T7" fmla="*/ 29210 h 40"/>
                <a:gd name="T8" fmla="*/ 34132 w 32"/>
                <a:gd name="T9" fmla="*/ 73025 h 40"/>
                <a:gd name="T10" fmla="*/ 51197 w 32"/>
                <a:gd name="T11" fmla="*/ 73025 h 40"/>
                <a:gd name="T12" fmla="*/ 68263 w 32"/>
                <a:gd name="T13" fmla="*/ 58420 h 40"/>
                <a:gd name="T14" fmla="*/ 68263 w 32"/>
                <a:gd name="T15" fmla="*/ 29210 h 40"/>
                <a:gd name="T16" fmla="*/ 51197 w 32"/>
                <a:gd name="T17" fmla="*/ 0 h 40"/>
                <a:gd name="T18" fmla="*/ 17066 w 32"/>
                <a:gd name="T19" fmla="*/ 0 h 40"/>
                <a:gd name="T20" fmla="*/ 0 w 32"/>
                <a:gd name="T21" fmla="*/ 14605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40"/>
                <a:gd name="T35" fmla="*/ 32 w 32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40">
                  <a:moveTo>
                    <a:pt x="0" y="8"/>
                  </a:moveTo>
                  <a:lnTo>
                    <a:pt x="8" y="16"/>
                  </a:lnTo>
                  <a:lnTo>
                    <a:pt x="8" y="8"/>
                  </a:lnTo>
                  <a:lnTo>
                    <a:pt x="16" y="16"/>
                  </a:lnTo>
                  <a:lnTo>
                    <a:pt x="16" y="40"/>
                  </a:lnTo>
                  <a:lnTo>
                    <a:pt x="24" y="40"/>
                  </a:lnTo>
                  <a:lnTo>
                    <a:pt x="32" y="32"/>
                  </a:lnTo>
                  <a:lnTo>
                    <a:pt x="32" y="16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Freeform 263">
              <a:extLst>
                <a:ext uri="{FF2B5EF4-FFF2-40B4-BE49-F238E27FC236}">
                  <a16:creationId xmlns:a16="http://schemas.microsoft.com/office/drawing/2014/main" id="{B785B94D-E5D1-41ED-B56C-6C6C7BE49F7B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10753242" y="2996241"/>
              <a:ext cx="88106" cy="57680"/>
            </a:xfrm>
            <a:custGeom>
              <a:avLst/>
              <a:gdLst>
                <a:gd name="T0" fmla="*/ 0 w 32"/>
                <a:gd name="T1" fmla="*/ 29633 h 24"/>
                <a:gd name="T2" fmla="*/ 34925 w 32"/>
                <a:gd name="T3" fmla="*/ 44450 h 24"/>
                <a:gd name="T4" fmla="*/ 34925 w 32"/>
                <a:gd name="T5" fmla="*/ 29633 h 24"/>
                <a:gd name="T6" fmla="*/ 34925 w 32"/>
                <a:gd name="T7" fmla="*/ 14817 h 24"/>
                <a:gd name="T8" fmla="*/ 52387 w 32"/>
                <a:gd name="T9" fmla="*/ 29633 h 24"/>
                <a:gd name="T10" fmla="*/ 69850 w 32"/>
                <a:gd name="T11" fmla="*/ 14817 h 24"/>
                <a:gd name="T12" fmla="*/ 52387 w 32"/>
                <a:gd name="T13" fmla="*/ 0 h 24"/>
                <a:gd name="T14" fmla="*/ 34925 w 32"/>
                <a:gd name="T15" fmla="*/ 0 h 24"/>
                <a:gd name="T16" fmla="*/ 34925 w 32"/>
                <a:gd name="T17" fmla="*/ 14817 h 24"/>
                <a:gd name="T18" fmla="*/ 17463 w 32"/>
                <a:gd name="T19" fmla="*/ 0 h 24"/>
                <a:gd name="T20" fmla="*/ 0 w 32"/>
                <a:gd name="T21" fmla="*/ 29633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24"/>
                <a:gd name="T35" fmla="*/ 32 w 32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24">
                  <a:moveTo>
                    <a:pt x="0" y="16"/>
                  </a:moveTo>
                  <a:lnTo>
                    <a:pt x="16" y="24"/>
                  </a:lnTo>
                  <a:lnTo>
                    <a:pt x="16" y="16"/>
                  </a:lnTo>
                  <a:lnTo>
                    <a:pt x="16" y="8"/>
                  </a:lnTo>
                  <a:lnTo>
                    <a:pt x="24" y="16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9" name="Freeform 264">
              <a:extLst>
                <a:ext uri="{FF2B5EF4-FFF2-40B4-BE49-F238E27FC236}">
                  <a16:creationId xmlns:a16="http://schemas.microsoft.com/office/drawing/2014/main" id="{C9E5F9B1-F25E-4914-8EA6-3089D4D2E272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10689164" y="2728440"/>
              <a:ext cx="326395" cy="306942"/>
            </a:xfrm>
            <a:custGeom>
              <a:avLst/>
              <a:gdLst>
                <a:gd name="T0" fmla="*/ 0 w 120"/>
                <a:gd name="T1" fmla="*/ 206971 h 128"/>
                <a:gd name="T2" fmla="*/ 17251 w 120"/>
                <a:gd name="T3" fmla="*/ 221754 h 128"/>
                <a:gd name="T4" fmla="*/ 34502 w 120"/>
                <a:gd name="T5" fmla="*/ 221754 h 128"/>
                <a:gd name="T6" fmla="*/ 51753 w 120"/>
                <a:gd name="T7" fmla="*/ 206971 h 128"/>
                <a:gd name="T8" fmla="*/ 103505 w 120"/>
                <a:gd name="T9" fmla="*/ 192187 h 128"/>
                <a:gd name="T10" fmla="*/ 120756 w 120"/>
                <a:gd name="T11" fmla="*/ 192187 h 128"/>
                <a:gd name="T12" fmla="*/ 120756 w 120"/>
                <a:gd name="T13" fmla="*/ 221754 h 128"/>
                <a:gd name="T14" fmla="*/ 155258 w 120"/>
                <a:gd name="T15" fmla="*/ 236538 h 128"/>
                <a:gd name="T16" fmla="*/ 172509 w 120"/>
                <a:gd name="T17" fmla="*/ 206971 h 128"/>
                <a:gd name="T18" fmla="*/ 155258 w 120"/>
                <a:gd name="T19" fmla="*/ 192187 h 128"/>
                <a:gd name="T20" fmla="*/ 172509 w 120"/>
                <a:gd name="T21" fmla="*/ 192187 h 128"/>
                <a:gd name="T22" fmla="*/ 189760 w 120"/>
                <a:gd name="T23" fmla="*/ 192187 h 128"/>
                <a:gd name="T24" fmla="*/ 207010 w 120"/>
                <a:gd name="T25" fmla="*/ 177403 h 128"/>
                <a:gd name="T26" fmla="*/ 224261 w 120"/>
                <a:gd name="T27" fmla="*/ 192187 h 128"/>
                <a:gd name="T28" fmla="*/ 224261 w 120"/>
                <a:gd name="T29" fmla="*/ 177403 h 128"/>
                <a:gd name="T30" fmla="*/ 241512 w 120"/>
                <a:gd name="T31" fmla="*/ 192187 h 128"/>
                <a:gd name="T32" fmla="*/ 258763 w 120"/>
                <a:gd name="T33" fmla="*/ 177403 h 128"/>
                <a:gd name="T34" fmla="*/ 258763 w 120"/>
                <a:gd name="T35" fmla="*/ 162620 h 128"/>
                <a:gd name="T36" fmla="*/ 224261 w 120"/>
                <a:gd name="T37" fmla="*/ 103485 h 128"/>
                <a:gd name="T38" fmla="*/ 224261 w 120"/>
                <a:gd name="T39" fmla="*/ 88702 h 128"/>
                <a:gd name="T40" fmla="*/ 241512 w 120"/>
                <a:gd name="T41" fmla="*/ 88702 h 128"/>
                <a:gd name="T42" fmla="*/ 224261 w 120"/>
                <a:gd name="T43" fmla="*/ 73918 h 128"/>
                <a:gd name="T44" fmla="*/ 172509 w 120"/>
                <a:gd name="T45" fmla="*/ 14784 h 128"/>
                <a:gd name="T46" fmla="*/ 155258 w 120"/>
                <a:gd name="T47" fmla="*/ 0 h 128"/>
                <a:gd name="T48" fmla="*/ 172509 w 120"/>
                <a:gd name="T49" fmla="*/ 14784 h 128"/>
                <a:gd name="T50" fmla="*/ 155258 w 120"/>
                <a:gd name="T51" fmla="*/ 14784 h 128"/>
                <a:gd name="T52" fmla="*/ 172509 w 120"/>
                <a:gd name="T53" fmla="*/ 73918 h 128"/>
                <a:gd name="T54" fmla="*/ 172509 w 120"/>
                <a:gd name="T55" fmla="*/ 118269 h 128"/>
                <a:gd name="T56" fmla="*/ 138007 w 120"/>
                <a:gd name="T57" fmla="*/ 133053 h 128"/>
                <a:gd name="T58" fmla="*/ 138007 w 120"/>
                <a:gd name="T59" fmla="*/ 118269 h 128"/>
                <a:gd name="T60" fmla="*/ 120756 w 120"/>
                <a:gd name="T61" fmla="*/ 118269 h 128"/>
                <a:gd name="T62" fmla="*/ 120756 w 120"/>
                <a:gd name="T63" fmla="*/ 162620 h 128"/>
                <a:gd name="T64" fmla="*/ 120756 w 120"/>
                <a:gd name="T65" fmla="*/ 177403 h 128"/>
                <a:gd name="T66" fmla="*/ 103505 w 120"/>
                <a:gd name="T67" fmla="*/ 162620 h 128"/>
                <a:gd name="T68" fmla="*/ 34502 w 120"/>
                <a:gd name="T69" fmla="*/ 177403 h 128"/>
                <a:gd name="T70" fmla="*/ 0 w 120"/>
                <a:gd name="T71" fmla="*/ 206971 h 12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0"/>
                <a:gd name="T109" fmla="*/ 0 h 128"/>
                <a:gd name="T110" fmla="*/ 120 w 120"/>
                <a:gd name="T111" fmla="*/ 128 h 12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0" h="128">
                  <a:moveTo>
                    <a:pt x="0" y="112"/>
                  </a:moveTo>
                  <a:lnTo>
                    <a:pt x="8" y="120"/>
                  </a:lnTo>
                  <a:lnTo>
                    <a:pt x="16" y="120"/>
                  </a:lnTo>
                  <a:lnTo>
                    <a:pt x="24" y="112"/>
                  </a:lnTo>
                  <a:lnTo>
                    <a:pt x="48" y="104"/>
                  </a:lnTo>
                  <a:lnTo>
                    <a:pt x="56" y="104"/>
                  </a:lnTo>
                  <a:lnTo>
                    <a:pt x="56" y="120"/>
                  </a:lnTo>
                  <a:lnTo>
                    <a:pt x="72" y="128"/>
                  </a:lnTo>
                  <a:lnTo>
                    <a:pt x="80" y="112"/>
                  </a:lnTo>
                  <a:lnTo>
                    <a:pt x="72" y="104"/>
                  </a:lnTo>
                  <a:lnTo>
                    <a:pt x="80" y="104"/>
                  </a:lnTo>
                  <a:lnTo>
                    <a:pt x="88" y="104"/>
                  </a:lnTo>
                  <a:lnTo>
                    <a:pt x="96" y="96"/>
                  </a:lnTo>
                  <a:lnTo>
                    <a:pt x="104" y="104"/>
                  </a:lnTo>
                  <a:lnTo>
                    <a:pt x="104" y="96"/>
                  </a:lnTo>
                  <a:lnTo>
                    <a:pt x="112" y="104"/>
                  </a:lnTo>
                  <a:lnTo>
                    <a:pt x="120" y="96"/>
                  </a:lnTo>
                  <a:lnTo>
                    <a:pt x="120" y="88"/>
                  </a:lnTo>
                  <a:lnTo>
                    <a:pt x="104" y="56"/>
                  </a:lnTo>
                  <a:lnTo>
                    <a:pt x="104" y="48"/>
                  </a:lnTo>
                  <a:lnTo>
                    <a:pt x="112" y="48"/>
                  </a:lnTo>
                  <a:lnTo>
                    <a:pt x="104" y="40"/>
                  </a:lnTo>
                  <a:lnTo>
                    <a:pt x="80" y="8"/>
                  </a:lnTo>
                  <a:lnTo>
                    <a:pt x="72" y="0"/>
                  </a:lnTo>
                  <a:lnTo>
                    <a:pt x="80" y="8"/>
                  </a:lnTo>
                  <a:lnTo>
                    <a:pt x="72" y="8"/>
                  </a:lnTo>
                  <a:lnTo>
                    <a:pt x="80" y="40"/>
                  </a:lnTo>
                  <a:lnTo>
                    <a:pt x="80" y="64"/>
                  </a:lnTo>
                  <a:lnTo>
                    <a:pt x="64" y="72"/>
                  </a:lnTo>
                  <a:lnTo>
                    <a:pt x="64" y="64"/>
                  </a:lnTo>
                  <a:lnTo>
                    <a:pt x="56" y="64"/>
                  </a:lnTo>
                  <a:lnTo>
                    <a:pt x="56" y="88"/>
                  </a:lnTo>
                  <a:lnTo>
                    <a:pt x="56" y="96"/>
                  </a:lnTo>
                  <a:lnTo>
                    <a:pt x="48" y="88"/>
                  </a:lnTo>
                  <a:lnTo>
                    <a:pt x="16" y="96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Freeform 265">
              <a:extLst>
                <a:ext uri="{FF2B5EF4-FFF2-40B4-BE49-F238E27FC236}">
                  <a16:creationId xmlns:a16="http://schemas.microsoft.com/office/drawing/2014/main" id="{49C262E4-CD80-49D4-91D3-1E6B6A007B6A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10819321" y="2594539"/>
              <a:ext cx="196237" cy="154501"/>
            </a:xfrm>
            <a:custGeom>
              <a:avLst/>
              <a:gdLst>
                <a:gd name="T0" fmla="*/ 17286 w 72"/>
                <a:gd name="T1" fmla="*/ 74414 h 64"/>
                <a:gd name="T2" fmla="*/ 34572 w 72"/>
                <a:gd name="T3" fmla="*/ 119063 h 64"/>
                <a:gd name="T4" fmla="*/ 51858 w 72"/>
                <a:gd name="T5" fmla="*/ 104180 h 64"/>
                <a:gd name="T6" fmla="*/ 34572 w 72"/>
                <a:gd name="T7" fmla="*/ 74414 h 64"/>
                <a:gd name="T8" fmla="*/ 51858 w 72"/>
                <a:gd name="T9" fmla="*/ 89297 h 64"/>
                <a:gd name="T10" fmla="*/ 69144 w 72"/>
                <a:gd name="T11" fmla="*/ 74414 h 64"/>
                <a:gd name="T12" fmla="*/ 103717 w 72"/>
                <a:gd name="T13" fmla="*/ 89297 h 64"/>
                <a:gd name="T14" fmla="*/ 121003 w 72"/>
                <a:gd name="T15" fmla="*/ 74414 h 64"/>
                <a:gd name="T16" fmla="*/ 138289 w 72"/>
                <a:gd name="T17" fmla="*/ 74414 h 64"/>
                <a:gd name="T18" fmla="*/ 155575 w 72"/>
                <a:gd name="T19" fmla="*/ 59532 h 64"/>
                <a:gd name="T20" fmla="*/ 138289 w 72"/>
                <a:gd name="T21" fmla="*/ 59532 h 64"/>
                <a:gd name="T22" fmla="*/ 121003 w 72"/>
                <a:gd name="T23" fmla="*/ 44649 h 64"/>
                <a:gd name="T24" fmla="*/ 121003 w 72"/>
                <a:gd name="T25" fmla="*/ 29766 h 64"/>
                <a:gd name="T26" fmla="*/ 103717 w 72"/>
                <a:gd name="T27" fmla="*/ 44649 h 64"/>
                <a:gd name="T28" fmla="*/ 86431 w 72"/>
                <a:gd name="T29" fmla="*/ 29766 h 64"/>
                <a:gd name="T30" fmla="*/ 0 w 72"/>
                <a:gd name="T31" fmla="*/ 0 h 64"/>
                <a:gd name="T32" fmla="*/ 17286 w 72"/>
                <a:gd name="T33" fmla="*/ 14883 h 64"/>
                <a:gd name="T34" fmla="*/ 34572 w 72"/>
                <a:gd name="T35" fmla="*/ 59532 h 64"/>
                <a:gd name="T36" fmla="*/ 17286 w 72"/>
                <a:gd name="T37" fmla="*/ 59532 h 64"/>
                <a:gd name="T38" fmla="*/ 17286 w 72"/>
                <a:gd name="T39" fmla="*/ 74414 h 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2"/>
                <a:gd name="T61" fmla="*/ 0 h 64"/>
                <a:gd name="T62" fmla="*/ 72 w 72"/>
                <a:gd name="T63" fmla="*/ 64 h 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2" h="64">
                  <a:moveTo>
                    <a:pt x="8" y="40"/>
                  </a:moveTo>
                  <a:lnTo>
                    <a:pt x="16" y="64"/>
                  </a:lnTo>
                  <a:lnTo>
                    <a:pt x="24" y="56"/>
                  </a:lnTo>
                  <a:lnTo>
                    <a:pt x="16" y="40"/>
                  </a:lnTo>
                  <a:lnTo>
                    <a:pt x="24" y="48"/>
                  </a:lnTo>
                  <a:lnTo>
                    <a:pt x="32" y="40"/>
                  </a:lnTo>
                  <a:lnTo>
                    <a:pt x="48" y="48"/>
                  </a:lnTo>
                  <a:lnTo>
                    <a:pt x="56" y="40"/>
                  </a:lnTo>
                  <a:lnTo>
                    <a:pt x="64" y="40"/>
                  </a:lnTo>
                  <a:lnTo>
                    <a:pt x="72" y="32"/>
                  </a:lnTo>
                  <a:lnTo>
                    <a:pt x="64" y="32"/>
                  </a:lnTo>
                  <a:lnTo>
                    <a:pt x="56" y="24"/>
                  </a:lnTo>
                  <a:lnTo>
                    <a:pt x="56" y="16"/>
                  </a:lnTo>
                  <a:lnTo>
                    <a:pt x="48" y="24"/>
                  </a:lnTo>
                  <a:lnTo>
                    <a:pt x="40" y="16"/>
                  </a:lnTo>
                  <a:lnTo>
                    <a:pt x="0" y="0"/>
                  </a:lnTo>
                  <a:lnTo>
                    <a:pt x="8" y="8"/>
                  </a:lnTo>
                  <a:lnTo>
                    <a:pt x="16" y="32"/>
                  </a:lnTo>
                  <a:lnTo>
                    <a:pt x="8" y="32"/>
                  </a:lnTo>
                  <a:lnTo>
                    <a:pt x="8" y="40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Line 266">
              <a:extLst>
                <a:ext uri="{FF2B5EF4-FFF2-40B4-BE49-F238E27FC236}">
                  <a16:creationId xmlns:a16="http://schemas.microsoft.com/office/drawing/2014/main" id="{932B7370-995B-411D-A7C1-F1427927967F}"/>
                </a:ext>
              </a:extLst>
            </p:cNvPr>
            <p:cNvSpPr>
              <a:spLocks noChangeShapeType="1"/>
            </p:cNvSpPr>
            <p:nvPr>
              <p:custDataLst>
                <p:tags r:id="rId223"/>
              </p:custDataLst>
            </p:nvPr>
          </p:nvSpPr>
          <p:spPr bwMode="auto">
            <a:xfrm flipV="1">
              <a:off x="10689164" y="3284642"/>
              <a:ext cx="22027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2" name="Line 267">
              <a:extLst>
                <a:ext uri="{FF2B5EF4-FFF2-40B4-BE49-F238E27FC236}">
                  <a16:creationId xmlns:a16="http://schemas.microsoft.com/office/drawing/2014/main" id="{0C241641-1749-4CD9-932D-443218591390}"/>
                </a:ext>
              </a:extLst>
            </p:cNvPr>
            <p:cNvSpPr>
              <a:spLocks noChangeShapeType="1"/>
            </p:cNvSpPr>
            <p:nvPr>
              <p:custDataLst>
                <p:tags r:id="rId224"/>
              </p:custDataLst>
            </p:nvPr>
          </p:nvSpPr>
          <p:spPr bwMode="auto">
            <a:xfrm flipV="1">
              <a:off x="10733217" y="3226962"/>
              <a:ext cx="2003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3" name="Line 268">
              <a:extLst>
                <a:ext uri="{FF2B5EF4-FFF2-40B4-BE49-F238E27FC236}">
                  <a16:creationId xmlns:a16="http://schemas.microsoft.com/office/drawing/2014/main" id="{57463D4B-8B20-4C58-BA9E-6F47FFE54E24}"/>
                </a:ext>
              </a:extLst>
            </p:cNvPr>
            <p:cNvSpPr>
              <a:spLocks noChangeShapeType="1"/>
            </p:cNvSpPr>
            <p:nvPr>
              <p:custDataLst>
                <p:tags r:id="rId225"/>
              </p:custDataLst>
            </p:nvPr>
          </p:nvSpPr>
          <p:spPr bwMode="auto">
            <a:xfrm flipV="1">
              <a:off x="10993532" y="2652219"/>
              <a:ext cx="4005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Freeform 269">
              <a:extLst>
                <a:ext uri="{FF2B5EF4-FFF2-40B4-BE49-F238E27FC236}">
                  <a16:creationId xmlns:a16="http://schemas.microsoft.com/office/drawing/2014/main" id="{5CB4FA53-CCFC-48DC-A739-EF204F98BD4B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11015558" y="2594539"/>
              <a:ext cx="44053" cy="39141"/>
            </a:xfrm>
            <a:custGeom>
              <a:avLst/>
              <a:gdLst>
                <a:gd name="T0" fmla="*/ 0 w 16"/>
                <a:gd name="T1" fmla="*/ 30163 h 16"/>
                <a:gd name="T2" fmla="*/ 34925 w 16"/>
                <a:gd name="T3" fmla="*/ 0 h 16"/>
                <a:gd name="T4" fmla="*/ 17463 w 16"/>
                <a:gd name="T5" fmla="*/ 0 h 16"/>
                <a:gd name="T6" fmla="*/ 0 w 16"/>
                <a:gd name="T7" fmla="*/ 30163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16"/>
                <a:gd name="T14" fmla="*/ 16 w 16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16">
                  <a:moveTo>
                    <a:pt x="0" y="16"/>
                  </a:moveTo>
                  <a:lnTo>
                    <a:pt x="16" y="0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Line 270">
              <a:extLst>
                <a:ext uri="{FF2B5EF4-FFF2-40B4-BE49-F238E27FC236}">
                  <a16:creationId xmlns:a16="http://schemas.microsoft.com/office/drawing/2014/main" id="{99D5C90D-477A-4896-99FC-D838EC406DBC}"/>
                </a:ext>
              </a:extLst>
            </p:cNvPr>
            <p:cNvSpPr>
              <a:spLocks noChangeShapeType="1"/>
            </p:cNvSpPr>
            <p:nvPr>
              <p:custDataLst>
                <p:tags r:id="rId227"/>
              </p:custDataLst>
            </p:nvPr>
          </p:nvSpPr>
          <p:spPr bwMode="auto">
            <a:xfrm flipV="1">
              <a:off x="11081638" y="2576000"/>
              <a:ext cx="2003" cy="391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6" name="Line 271">
              <a:extLst>
                <a:ext uri="{FF2B5EF4-FFF2-40B4-BE49-F238E27FC236}">
                  <a16:creationId xmlns:a16="http://schemas.microsoft.com/office/drawing/2014/main" id="{0454B824-73B2-40B1-AC86-10A812D2689C}"/>
                </a:ext>
              </a:extLst>
            </p:cNvPr>
            <p:cNvSpPr>
              <a:spLocks noChangeShapeType="1"/>
            </p:cNvSpPr>
            <p:nvPr>
              <p:custDataLst>
                <p:tags r:id="rId228"/>
              </p:custDataLst>
            </p:nvPr>
          </p:nvSpPr>
          <p:spPr bwMode="auto">
            <a:xfrm>
              <a:off x="11103664" y="2557459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Freeform 272">
              <a:extLst>
                <a:ext uri="{FF2B5EF4-FFF2-40B4-BE49-F238E27FC236}">
                  <a16:creationId xmlns:a16="http://schemas.microsoft.com/office/drawing/2014/main" id="{83A036C3-C8AE-4163-828A-8E7068EA8AC1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11125692" y="2402959"/>
              <a:ext cx="20024" cy="39141"/>
            </a:xfrm>
            <a:custGeom>
              <a:avLst/>
              <a:gdLst>
                <a:gd name="T0" fmla="*/ 0 w 8"/>
                <a:gd name="T1" fmla="*/ 15082 h 16"/>
                <a:gd name="T2" fmla="*/ 0 w 8"/>
                <a:gd name="T3" fmla="*/ 30163 h 16"/>
                <a:gd name="T4" fmla="*/ 15875 w 8"/>
                <a:gd name="T5" fmla="*/ 15082 h 16"/>
                <a:gd name="T6" fmla="*/ 0 w 8"/>
                <a:gd name="T7" fmla="*/ 0 h 16"/>
                <a:gd name="T8" fmla="*/ 0 w 8"/>
                <a:gd name="T9" fmla="*/ 15082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6"/>
                <a:gd name="T17" fmla="*/ 8 w 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6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Freeform 273">
              <a:extLst>
                <a:ext uri="{FF2B5EF4-FFF2-40B4-BE49-F238E27FC236}">
                  <a16:creationId xmlns:a16="http://schemas.microsoft.com/office/drawing/2014/main" id="{34C66F01-F48C-4078-B7C5-37A106D0602E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11059611" y="2116617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Freeform 274">
              <a:extLst>
                <a:ext uri="{FF2B5EF4-FFF2-40B4-BE49-F238E27FC236}">
                  <a16:creationId xmlns:a16="http://schemas.microsoft.com/office/drawing/2014/main" id="{1E81BFC1-00B9-4C05-BA51-19DC82735F05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10907427" y="1733456"/>
              <a:ext cx="86105" cy="18541"/>
            </a:xfrm>
            <a:custGeom>
              <a:avLst/>
              <a:gdLst>
                <a:gd name="T0" fmla="*/ 17066 w 32"/>
                <a:gd name="T1" fmla="*/ 14288 h 8"/>
                <a:gd name="T2" fmla="*/ 68263 w 32"/>
                <a:gd name="T3" fmla="*/ 0 h 8"/>
                <a:gd name="T4" fmla="*/ 0 w 32"/>
                <a:gd name="T5" fmla="*/ 0 h 8"/>
                <a:gd name="T6" fmla="*/ 0 60000 65536"/>
                <a:gd name="T7" fmla="*/ 0 60000 65536"/>
                <a:gd name="T8" fmla="*/ 0 60000 65536"/>
                <a:gd name="T9" fmla="*/ 0 w 32"/>
                <a:gd name="T10" fmla="*/ 0 h 8"/>
                <a:gd name="T11" fmla="*/ 32 w 32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2" h="8">
                  <a:moveTo>
                    <a:pt x="8" y="8"/>
                  </a:moveTo>
                  <a:lnTo>
                    <a:pt x="32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Freeform 275">
              <a:extLst>
                <a:ext uri="{FF2B5EF4-FFF2-40B4-BE49-F238E27FC236}">
                  <a16:creationId xmlns:a16="http://schemas.microsoft.com/office/drawing/2014/main" id="{C030AE79-4C68-4F46-9918-C79A4675EAF8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9816109" y="1657236"/>
              <a:ext cx="88106" cy="18541"/>
            </a:xfrm>
            <a:custGeom>
              <a:avLst/>
              <a:gdLst>
                <a:gd name="T0" fmla="*/ 0 w 32"/>
                <a:gd name="T1" fmla="*/ 14288 h 8"/>
                <a:gd name="T2" fmla="*/ 69850 w 32"/>
                <a:gd name="T3" fmla="*/ 14288 h 8"/>
                <a:gd name="T4" fmla="*/ 17463 w 32"/>
                <a:gd name="T5" fmla="*/ 0 h 8"/>
                <a:gd name="T6" fmla="*/ 0 w 32"/>
                <a:gd name="T7" fmla="*/ 0 h 8"/>
                <a:gd name="T8" fmla="*/ 0 w 32"/>
                <a:gd name="T9" fmla="*/ 1428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"/>
                <a:gd name="T16" fmla="*/ 0 h 8"/>
                <a:gd name="T17" fmla="*/ 32 w 3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" h="8">
                  <a:moveTo>
                    <a:pt x="0" y="8"/>
                  </a:moveTo>
                  <a:lnTo>
                    <a:pt x="32" y="8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1" name="Line 276">
              <a:extLst>
                <a:ext uri="{FF2B5EF4-FFF2-40B4-BE49-F238E27FC236}">
                  <a16:creationId xmlns:a16="http://schemas.microsoft.com/office/drawing/2014/main" id="{6F176DE3-3925-4839-84E7-7744A0CC8A46}"/>
                </a:ext>
              </a:extLst>
            </p:cNvPr>
            <p:cNvSpPr>
              <a:spLocks noChangeShapeType="1"/>
            </p:cNvSpPr>
            <p:nvPr>
              <p:custDataLst>
                <p:tags r:id="rId233"/>
              </p:custDataLst>
            </p:nvPr>
          </p:nvSpPr>
          <p:spPr bwMode="auto">
            <a:xfrm>
              <a:off x="10907427" y="1751997"/>
              <a:ext cx="22027" cy="20600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Line 277">
              <a:extLst>
                <a:ext uri="{FF2B5EF4-FFF2-40B4-BE49-F238E27FC236}">
                  <a16:creationId xmlns:a16="http://schemas.microsoft.com/office/drawing/2014/main" id="{9F4F886A-6B4F-4B32-ADAD-0465BE4D2182}"/>
                </a:ext>
              </a:extLst>
            </p:cNvPr>
            <p:cNvSpPr>
              <a:spLocks noChangeShapeType="1"/>
            </p:cNvSpPr>
            <p:nvPr>
              <p:custDataLst>
                <p:tags r:id="rId234"/>
              </p:custDataLst>
            </p:nvPr>
          </p:nvSpPr>
          <p:spPr bwMode="auto">
            <a:xfrm>
              <a:off x="9772056" y="1675776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3" name="Freeform 278">
              <a:extLst>
                <a:ext uri="{FF2B5EF4-FFF2-40B4-BE49-F238E27FC236}">
                  <a16:creationId xmlns:a16="http://schemas.microsoft.com/office/drawing/2014/main" id="{CF7F2D4F-520A-40A1-B943-809790C8DD0B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9860162" y="1618096"/>
              <a:ext cx="130158" cy="20600"/>
            </a:xfrm>
            <a:custGeom>
              <a:avLst/>
              <a:gdLst>
                <a:gd name="T0" fmla="*/ 0 w 48"/>
                <a:gd name="T1" fmla="*/ 0 h 8"/>
                <a:gd name="T2" fmla="*/ 103188 w 48"/>
                <a:gd name="T3" fmla="*/ 15875 h 8"/>
                <a:gd name="T4" fmla="*/ 103188 w 48"/>
                <a:gd name="T5" fmla="*/ 0 h 8"/>
                <a:gd name="T6" fmla="*/ 0 w 4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8"/>
                <a:gd name="T13" fmla="*/ 0 h 8"/>
                <a:gd name="T14" fmla="*/ 48 w 4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8" h="8">
                  <a:moveTo>
                    <a:pt x="0" y="0"/>
                  </a:moveTo>
                  <a:lnTo>
                    <a:pt x="48" y="8"/>
                  </a:lnTo>
                  <a:lnTo>
                    <a:pt x="4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4" name="Freeform 279">
              <a:extLst>
                <a:ext uri="{FF2B5EF4-FFF2-40B4-BE49-F238E27FC236}">
                  <a16:creationId xmlns:a16="http://schemas.microsoft.com/office/drawing/2014/main" id="{27D1DA2C-E856-4B68-8308-7DF56C5A91B2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9619872" y="1599556"/>
              <a:ext cx="218264" cy="39141"/>
            </a:xfrm>
            <a:custGeom>
              <a:avLst/>
              <a:gdLst>
                <a:gd name="T0" fmla="*/ 17304 w 80"/>
                <a:gd name="T1" fmla="*/ 15082 h 16"/>
                <a:gd name="T2" fmla="*/ 86519 w 80"/>
                <a:gd name="T3" fmla="*/ 30163 h 16"/>
                <a:gd name="T4" fmla="*/ 155734 w 80"/>
                <a:gd name="T5" fmla="*/ 30163 h 16"/>
                <a:gd name="T6" fmla="*/ 173038 w 80"/>
                <a:gd name="T7" fmla="*/ 15082 h 16"/>
                <a:gd name="T8" fmla="*/ 86519 w 80"/>
                <a:gd name="T9" fmla="*/ 0 h 16"/>
                <a:gd name="T10" fmla="*/ 17304 w 80"/>
                <a:gd name="T11" fmla="*/ 0 h 16"/>
                <a:gd name="T12" fmla="*/ 0 w 80"/>
                <a:gd name="T13" fmla="*/ 0 h 16"/>
                <a:gd name="T14" fmla="*/ 17304 w 80"/>
                <a:gd name="T15" fmla="*/ 15082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0"/>
                <a:gd name="T25" fmla="*/ 0 h 16"/>
                <a:gd name="T26" fmla="*/ 80 w 80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0" h="16">
                  <a:moveTo>
                    <a:pt x="8" y="8"/>
                  </a:moveTo>
                  <a:lnTo>
                    <a:pt x="40" y="16"/>
                  </a:lnTo>
                  <a:lnTo>
                    <a:pt x="72" y="16"/>
                  </a:lnTo>
                  <a:lnTo>
                    <a:pt x="80" y="8"/>
                  </a:lnTo>
                  <a:lnTo>
                    <a:pt x="4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5" name="Freeform 280">
              <a:extLst>
                <a:ext uri="{FF2B5EF4-FFF2-40B4-BE49-F238E27FC236}">
                  <a16:creationId xmlns:a16="http://schemas.microsoft.com/office/drawing/2014/main" id="{CEDCBB7E-AEED-45CE-821C-8D7D46495705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38686" y="1502735"/>
              <a:ext cx="108131" cy="39141"/>
            </a:xfrm>
            <a:custGeom>
              <a:avLst/>
              <a:gdLst>
                <a:gd name="T0" fmla="*/ 0 w 40"/>
                <a:gd name="T1" fmla="*/ 30163 h 16"/>
                <a:gd name="T2" fmla="*/ 85725 w 40"/>
                <a:gd name="T3" fmla="*/ 30163 h 16"/>
                <a:gd name="T4" fmla="*/ 68580 w 40"/>
                <a:gd name="T5" fmla="*/ 15082 h 16"/>
                <a:gd name="T6" fmla="*/ 17145 w 40"/>
                <a:gd name="T7" fmla="*/ 0 h 16"/>
                <a:gd name="T8" fmla="*/ 0 w 40"/>
                <a:gd name="T9" fmla="*/ 0 h 16"/>
                <a:gd name="T10" fmla="*/ 0 w 40"/>
                <a:gd name="T11" fmla="*/ 30163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6"/>
                <a:gd name="T20" fmla="*/ 40 w 40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6">
                  <a:moveTo>
                    <a:pt x="0" y="16"/>
                  </a:moveTo>
                  <a:lnTo>
                    <a:pt x="40" y="16"/>
                  </a:lnTo>
                  <a:lnTo>
                    <a:pt x="32" y="8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6" name="Freeform 281">
              <a:extLst>
                <a:ext uri="{FF2B5EF4-FFF2-40B4-BE49-F238E27FC236}">
                  <a16:creationId xmlns:a16="http://schemas.microsoft.com/office/drawing/2014/main" id="{26B9512E-F52C-42DB-9367-DB8401A6D903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376368" y="1465655"/>
              <a:ext cx="240290" cy="57680"/>
            </a:xfrm>
            <a:custGeom>
              <a:avLst/>
              <a:gdLst>
                <a:gd name="T0" fmla="*/ 0 w 88"/>
                <a:gd name="T1" fmla="*/ 14817 h 24"/>
                <a:gd name="T2" fmla="*/ 86591 w 88"/>
                <a:gd name="T3" fmla="*/ 44450 h 24"/>
                <a:gd name="T4" fmla="*/ 190500 w 88"/>
                <a:gd name="T5" fmla="*/ 44450 h 24"/>
                <a:gd name="T6" fmla="*/ 173182 w 88"/>
                <a:gd name="T7" fmla="*/ 29633 h 24"/>
                <a:gd name="T8" fmla="*/ 51955 w 88"/>
                <a:gd name="T9" fmla="*/ 0 h 24"/>
                <a:gd name="T10" fmla="*/ 17318 w 88"/>
                <a:gd name="T11" fmla="*/ 0 h 24"/>
                <a:gd name="T12" fmla="*/ 17318 w 88"/>
                <a:gd name="T13" fmla="*/ 14817 h 24"/>
                <a:gd name="T14" fmla="*/ 0 w 88"/>
                <a:gd name="T15" fmla="*/ 14817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24"/>
                <a:gd name="T26" fmla="*/ 88 w 88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24">
                  <a:moveTo>
                    <a:pt x="0" y="8"/>
                  </a:moveTo>
                  <a:lnTo>
                    <a:pt x="40" y="24"/>
                  </a:lnTo>
                  <a:lnTo>
                    <a:pt x="88" y="24"/>
                  </a:lnTo>
                  <a:lnTo>
                    <a:pt x="80" y="16"/>
                  </a:lnTo>
                  <a:lnTo>
                    <a:pt x="24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7" name="Freeform 282">
              <a:extLst>
                <a:ext uri="{FF2B5EF4-FFF2-40B4-BE49-F238E27FC236}">
                  <a16:creationId xmlns:a16="http://schemas.microsoft.com/office/drawing/2014/main" id="{7388D3AD-34F0-4F79-8158-620D744C5A7F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591419" y="1581016"/>
              <a:ext cx="370448" cy="170981"/>
            </a:xfrm>
            <a:custGeom>
              <a:avLst/>
              <a:gdLst>
                <a:gd name="T0" fmla="*/ 17276 w 136"/>
                <a:gd name="T1" fmla="*/ 117123 h 72"/>
                <a:gd name="T2" fmla="*/ 69103 w 136"/>
                <a:gd name="T3" fmla="*/ 131763 h 72"/>
                <a:gd name="T4" fmla="*/ 138206 w 136"/>
                <a:gd name="T5" fmla="*/ 131763 h 72"/>
                <a:gd name="T6" fmla="*/ 103655 w 136"/>
                <a:gd name="T7" fmla="*/ 117123 h 72"/>
                <a:gd name="T8" fmla="*/ 86379 w 136"/>
                <a:gd name="T9" fmla="*/ 87842 h 72"/>
                <a:gd name="T10" fmla="*/ 155482 w 136"/>
                <a:gd name="T11" fmla="*/ 29281 h 72"/>
                <a:gd name="T12" fmla="*/ 293688 w 136"/>
                <a:gd name="T13" fmla="*/ 14640 h 72"/>
                <a:gd name="T14" fmla="*/ 276412 w 136"/>
                <a:gd name="T15" fmla="*/ 0 h 72"/>
                <a:gd name="T16" fmla="*/ 259136 w 136"/>
                <a:gd name="T17" fmla="*/ 0 h 72"/>
                <a:gd name="T18" fmla="*/ 224585 w 136"/>
                <a:gd name="T19" fmla="*/ 0 h 72"/>
                <a:gd name="T20" fmla="*/ 138206 w 136"/>
                <a:gd name="T21" fmla="*/ 14640 h 72"/>
                <a:gd name="T22" fmla="*/ 51827 w 136"/>
                <a:gd name="T23" fmla="*/ 29281 h 72"/>
                <a:gd name="T24" fmla="*/ 51827 w 136"/>
                <a:gd name="T25" fmla="*/ 58561 h 72"/>
                <a:gd name="T26" fmla="*/ 34552 w 136"/>
                <a:gd name="T27" fmla="*/ 58561 h 72"/>
                <a:gd name="T28" fmla="*/ 51827 w 136"/>
                <a:gd name="T29" fmla="*/ 73202 h 72"/>
                <a:gd name="T30" fmla="*/ 17276 w 136"/>
                <a:gd name="T31" fmla="*/ 87842 h 72"/>
                <a:gd name="T32" fmla="*/ 34552 w 136"/>
                <a:gd name="T33" fmla="*/ 87842 h 72"/>
                <a:gd name="T34" fmla="*/ 0 w 136"/>
                <a:gd name="T35" fmla="*/ 102482 h 72"/>
                <a:gd name="T36" fmla="*/ 17276 w 136"/>
                <a:gd name="T37" fmla="*/ 117123 h 7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6"/>
                <a:gd name="T58" fmla="*/ 0 h 72"/>
                <a:gd name="T59" fmla="*/ 136 w 136"/>
                <a:gd name="T60" fmla="*/ 72 h 7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6" h="72">
                  <a:moveTo>
                    <a:pt x="8" y="64"/>
                  </a:moveTo>
                  <a:lnTo>
                    <a:pt x="32" y="72"/>
                  </a:lnTo>
                  <a:lnTo>
                    <a:pt x="64" y="72"/>
                  </a:lnTo>
                  <a:lnTo>
                    <a:pt x="48" y="64"/>
                  </a:lnTo>
                  <a:lnTo>
                    <a:pt x="40" y="48"/>
                  </a:lnTo>
                  <a:lnTo>
                    <a:pt x="72" y="16"/>
                  </a:lnTo>
                  <a:lnTo>
                    <a:pt x="136" y="8"/>
                  </a:lnTo>
                  <a:lnTo>
                    <a:pt x="128" y="0"/>
                  </a:lnTo>
                  <a:lnTo>
                    <a:pt x="120" y="0"/>
                  </a:lnTo>
                  <a:lnTo>
                    <a:pt x="104" y="0"/>
                  </a:lnTo>
                  <a:lnTo>
                    <a:pt x="64" y="8"/>
                  </a:lnTo>
                  <a:lnTo>
                    <a:pt x="24" y="16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24" y="40"/>
                  </a:lnTo>
                  <a:lnTo>
                    <a:pt x="8" y="48"/>
                  </a:lnTo>
                  <a:lnTo>
                    <a:pt x="16" y="48"/>
                  </a:lnTo>
                  <a:lnTo>
                    <a:pt x="0" y="56"/>
                  </a:lnTo>
                  <a:lnTo>
                    <a:pt x="8" y="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8" name="Freeform 283">
              <a:extLst>
                <a:ext uri="{FF2B5EF4-FFF2-40B4-BE49-F238E27FC236}">
                  <a16:creationId xmlns:a16="http://schemas.microsoft.com/office/drawing/2014/main" id="{4EA11D42-8AD7-4BAE-A339-CE767054CEEA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547366" y="1791136"/>
              <a:ext cx="66081" cy="18541"/>
            </a:xfrm>
            <a:custGeom>
              <a:avLst/>
              <a:gdLst>
                <a:gd name="T0" fmla="*/ 17463 w 24"/>
                <a:gd name="T1" fmla="*/ 14288 h 8"/>
                <a:gd name="T2" fmla="*/ 34925 w 24"/>
                <a:gd name="T3" fmla="*/ 14288 h 8"/>
                <a:gd name="T4" fmla="*/ 52388 w 24"/>
                <a:gd name="T5" fmla="*/ 0 h 8"/>
                <a:gd name="T6" fmla="*/ 17463 w 24"/>
                <a:gd name="T7" fmla="*/ 0 h 8"/>
                <a:gd name="T8" fmla="*/ 0 w 24"/>
                <a:gd name="T9" fmla="*/ 0 h 8"/>
                <a:gd name="T10" fmla="*/ 17463 w 24"/>
                <a:gd name="T11" fmla="*/ 1428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8"/>
                <a:gd name="T20" fmla="*/ 24 w 2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8">
                  <a:moveTo>
                    <a:pt x="8" y="8"/>
                  </a:moveTo>
                  <a:lnTo>
                    <a:pt x="16" y="8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9" name="Freeform 284">
              <a:extLst>
                <a:ext uri="{FF2B5EF4-FFF2-40B4-BE49-F238E27FC236}">
                  <a16:creationId xmlns:a16="http://schemas.microsoft.com/office/drawing/2014/main" id="{FA596FA8-FC47-4315-A723-D9C4142712EB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591419" y="1465655"/>
              <a:ext cx="174211" cy="18541"/>
            </a:xfrm>
            <a:custGeom>
              <a:avLst/>
              <a:gdLst>
                <a:gd name="T0" fmla="*/ 0 w 64"/>
                <a:gd name="T1" fmla="*/ 14288 h 8"/>
                <a:gd name="T2" fmla="*/ 86321 w 64"/>
                <a:gd name="T3" fmla="*/ 14288 h 8"/>
                <a:gd name="T4" fmla="*/ 103585 w 64"/>
                <a:gd name="T5" fmla="*/ 14288 h 8"/>
                <a:gd name="T6" fmla="*/ 86321 w 64"/>
                <a:gd name="T7" fmla="*/ 0 h 8"/>
                <a:gd name="T8" fmla="*/ 138113 w 64"/>
                <a:gd name="T9" fmla="*/ 0 h 8"/>
                <a:gd name="T10" fmla="*/ 120849 w 64"/>
                <a:gd name="T11" fmla="*/ 0 h 8"/>
                <a:gd name="T12" fmla="*/ 0 w 64"/>
                <a:gd name="T13" fmla="*/ 14288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4"/>
                <a:gd name="T22" fmla="*/ 0 h 8"/>
                <a:gd name="T23" fmla="*/ 64 w 64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4" h="8">
                  <a:moveTo>
                    <a:pt x="0" y="8"/>
                  </a:moveTo>
                  <a:lnTo>
                    <a:pt x="40" y="8"/>
                  </a:lnTo>
                  <a:lnTo>
                    <a:pt x="48" y="8"/>
                  </a:lnTo>
                  <a:lnTo>
                    <a:pt x="40" y="0"/>
                  </a:lnTo>
                  <a:lnTo>
                    <a:pt x="64" y="0"/>
                  </a:lnTo>
                  <a:lnTo>
                    <a:pt x="5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0" name="Freeform 285">
              <a:extLst>
                <a:ext uri="{FF2B5EF4-FFF2-40B4-BE49-F238E27FC236}">
                  <a16:creationId xmlns:a16="http://schemas.microsoft.com/office/drawing/2014/main" id="{3A0F98F4-F1A8-45B9-BE08-B0A109A20A87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7525340" y="1447116"/>
              <a:ext cx="110134" cy="18541"/>
            </a:xfrm>
            <a:custGeom>
              <a:avLst/>
              <a:gdLst>
                <a:gd name="T0" fmla="*/ 0 w 40"/>
                <a:gd name="T1" fmla="*/ 14288 h 8"/>
                <a:gd name="T2" fmla="*/ 87313 w 40"/>
                <a:gd name="T3" fmla="*/ 14288 h 8"/>
                <a:gd name="T4" fmla="*/ 69850 w 40"/>
                <a:gd name="T5" fmla="*/ 14288 h 8"/>
                <a:gd name="T6" fmla="*/ 69850 w 40"/>
                <a:gd name="T7" fmla="*/ 0 h 8"/>
                <a:gd name="T8" fmla="*/ 34925 w 40"/>
                <a:gd name="T9" fmla="*/ 14288 h 8"/>
                <a:gd name="T10" fmla="*/ 0 w 40"/>
                <a:gd name="T11" fmla="*/ 1428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8"/>
                <a:gd name="T20" fmla="*/ 40 w 4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8">
                  <a:moveTo>
                    <a:pt x="0" y="8"/>
                  </a:moveTo>
                  <a:lnTo>
                    <a:pt x="4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16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1" name="Freeform 286">
              <a:extLst>
                <a:ext uri="{FF2B5EF4-FFF2-40B4-BE49-F238E27FC236}">
                  <a16:creationId xmlns:a16="http://schemas.microsoft.com/office/drawing/2014/main" id="{46132AC4-F6FE-449C-B6A5-417599972527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09079" y="1465655"/>
              <a:ext cx="152184" cy="18541"/>
            </a:xfrm>
            <a:custGeom>
              <a:avLst/>
              <a:gdLst>
                <a:gd name="T0" fmla="*/ 0 w 56"/>
                <a:gd name="T1" fmla="*/ 14288 h 8"/>
                <a:gd name="T2" fmla="*/ 86179 w 56"/>
                <a:gd name="T3" fmla="*/ 14288 h 8"/>
                <a:gd name="T4" fmla="*/ 103414 w 56"/>
                <a:gd name="T5" fmla="*/ 14288 h 8"/>
                <a:gd name="T6" fmla="*/ 120650 w 56"/>
                <a:gd name="T7" fmla="*/ 14288 h 8"/>
                <a:gd name="T8" fmla="*/ 51707 w 56"/>
                <a:gd name="T9" fmla="*/ 0 h 8"/>
                <a:gd name="T10" fmla="*/ 0 w 56"/>
                <a:gd name="T11" fmla="*/ 1428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6"/>
                <a:gd name="T19" fmla="*/ 0 h 8"/>
                <a:gd name="T20" fmla="*/ 56 w 5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6" h="8">
                  <a:moveTo>
                    <a:pt x="0" y="8"/>
                  </a:moveTo>
                  <a:lnTo>
                    <a:pt x="40" y="8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2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Freeform 287">
              <a:extLst>
                <a:ext uri="{FF2B5EF4-FFF2-40B4-BE49-F238E27FC236}">
                  <a16:creationId xmlns:a16="http://schemas.microsoft.com/office/drawing/2014/main" id="{547DCF9B-A9F7-496E-879D-2785AD7F4909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6566180" y="1484196"/>
              <a:ext cx="370448" cy="96821"/>
            </a:xfrm>
            <a:custGeom>
              <a:avLst/>
              <a:gdLst>
                <a:gd name="T0" fmla="*/ 0 w 136"/>
                <a:gd name="T1" fmla="*/ 14923 h 40"/>
                <a:gd name="T2" fmla="*/ 17276 w 136"/>
                <a:gd name="T3" fmla="*/ 29845 h 40"/>
                <a:gd name="T4" fmla="*/ 34552 w 136"/>
                <a:gd name="T5" fmla="*/ 44768 h 40"/>
                <a:gd name="T6" fmla="*/ 69103 w 136"/>
                <a:gd name="T7" fmla="*/ 44768 h 40"/>
                <a:gd name="T8" fmla="*/ 51827 w 136"/>
                <a:gd name="T9" fmla="*/ 44768 h 40"/>
                <a:gd name="T10" fmla="*/ 51827 w 136"/>
                <a:gd name="T11" fmla="*/ 59690 h 40"/>
                <a:gd name="T12" fmla="*/ 103655 w 136"/>
                <a:gd name="T13" fmla="*/ 74613 h 40"/>
                <a:gd name="T14" fmla="*/ 138206 w 136"/>
                <a:gd name="T15" fmla="*/ 44768 h 40"/>
                <a:gd name="T16" fmla="*/ 172758 w 136"/>
                <a:gd name="T17" fmla="*/ 29845 h 40"/>
                <a:gd name="T18" fmla="*/ 190033 w 136"/>
                <a:gd name="T19" fmla="*/ 44768 h 40"/>
                <a:gd name="T20" fmla="*/ 190033 w 136"/>
                <a:gd name="T21" fmla="*/ 59690 h 40"/>
                <a:gd name="T22" fmla="*/ 224585 w 136"/>
                <a:gd name="T23" fmla="*/ 59690 h 40"/>
                <a:gd name="T24" fmla="*/ 259136 w 136"/>
                <a:gd name="T25" fmla="*/ 59690 h 40"/>
                <a:gd name="T26" fmla="*/ 138206 w 136"/>
                <a:gd name="T27" fmla="*/ 29845 h 40"/>
                <a:gd name="T28" fmla="*/ 138206 w 136"/>
                <a:gd name="T29" fmla="*/ 14923 h 40"/>
                <a:gd name="T30" fmla="*/ 224585 w 136"/>
                <a:gd name="T31" fmla="*/ 29845 h 40"/>
                <a:gd name="T32" fmla="*/ 293688 w 136"/>
                <a:gd name="T33" fmla="*/ 14923 h 40"/>
                <a:gd name="T34" fmla="*/ 276412 w 136"/>
                <a:gd name="T35" fmla="*/ 0 h 40"/>
                <a:gd name="T36" fmla="*/ 155482 w 136"/>
                <a:gd name="T37" fmla="*/ 0 h 40"/>
                <a:gd name="T38" fmla="*/ 86379 w 136"/>
                <a:gd name="T39" fmla="*/ 14923 h 40"/>
                <a:gd name="T40" fmla="*/ 0 w 136"/>
                <a:gd name="T41" fmla="*/ 14923 h 4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36"/>
                <a:gd name="T64" fmla="*/ 0 h 40"/>
                <a:gd name="T65" fmla="*/ 136 w 136"/>
                <a:gd name="T66" fmla="*/ 40 h 4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36" h="40">
                  <a:moveTo>
                    <a:pt x="0" y="8"/>
                  </a:moveTo>
                  <a:lnTo>
                    <a:pt x="8" y="16"/>
                  </a:lnTo>
                  <a:lnTo>
                    <a:pt x="16" y="24"/>
                  </a:lnTo>
                  <a:lnTo>
                    <a:pt x="32" y="24"/>
                  </a:lnTo>
                  <a:lnTo>
                    <a:pt x="24" y="24"/>
                  </a:lnTo>
                  <a:lnTo>
                    <a:pt x="24" y="32"/>
                  </a:lnTo>
                  <a:lnTo>
                    <a:pt x="48" y="40"/>
                  </a:lnTo>
                  <a:lnTo>
                    <a:pt x="64" y="24"/>
                  </a:lnTo>
                  <a:lnTo>
                    <a:pt x="80" y="16"/>
                  </a:lnTo>
                  <a:lnTo>
                    <a:pt x="88" y="24"/>
                  </a:lnTo>
                  <a:lnTo>
                    <a:pt x="88" y="32"/>
                  </a:lnTo>
                  <a:lnTo>
                    <a:pt x="104" y="32"/>
                  </a:lnTo>
                  <a:lnTo>
                    <a:pt x="120" y="32"/>
                  </a:lnTo>
                  <a:lnTo>
                    <a:pt x="64" y="16"/>
                  </a:lnTo>
                  <a:lnTo>
                    <a:pt x="64" y="8"/>
                  </a:lnTo>
                  <a:lnTo>
                    <a:pt x="104" y="16"/>
                  </a:lnTo>
                  <a:lnTo>
                    <a:pt x="136" y="8"/>
                  </a:lnTo>
                  <a:lnTo>
                    <a:pt x="128" y="0"/>
                  </a:lnTo>
                  <a:lnTo>
                    <a:pt x="72" y="0"/>
                  </a:lnTo>
                  <a:lnTo>
                    <a:pt x="4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3" name="Line 288">
              <a:extLst>
                <a:ext uri="{FF2B5EF4-FFF2-40B4-BE49-F238E27FC236}">
                  <a16:creationId xmlns:a16="http://schemas.microsoft.com/office/drawing/2014/main" id="{8EBD6FE7-61E6-4AC7-81A7-2E5256D2C9D1}"/>
                </a:ext>
              </a:extLst>
            </p:cNvPr>
            <p:cNvSpPr>
              <a:spLocks noChangeShapeType="1"/>
            </p:cNvSpPr>
            <p:nvPr>
              <p:custDataLst>
                <p:tags r:id="rId245"/>
              </p:custDataLst>
            </p:nvPr>
          </p:nvSpPr>
          <p:spPr bwMode="auto">
            <a:xfrm>
              <a:off x="7505316" y="1502735"/>
              <a:ext cx="42051" cy="4120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4" name="Line 289">
              <a:extLst>
                <a:ext uri="{FF2B5EF4-FFF2-40B4-BE49-F238E27FC236}">
                  <a16:creationId xmlns:a16="http://schemas.microsoft.com/office/drawing/2014/main" id="{0F362795-F12D-462A-9FD3-EC8325EE8E89}"/>
                </a:ext>
              </a:extLst>
            </p:cNvPr>
            <p:cNvSpPr>
              <a:spLocks noChangeShapeType="1"/>
            </p:cNvSpPr>
            <p:nvPr>
              <p:custDataLst>
                <p:tags r:id="rId246"/>
              </p:custDataLst>
            </p:nvPr>
          </p:nvSpPr>
          <p:spPr bwMode="auto">
            <a:xfrm>
              <a:off x="6043549" y="2040398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5" name="Freeform 290">
              <a:extLst>
                <a:ext uri="{FF2B5EF4-FFF2-40B4-BE49-F238E27FC236}">
                  <a16:creationId xmlns:a16="http://schemas.microsoft.com/office/drawing/2014/main" id="{82AF3967-5DBC-4C4A-BCF5-F694FC982D78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6195733" y="2077478"/>
              <a:ext cx="22027" cy="20600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0 h 8"/>
                <a:gd name="T4" fmla="*/ 0 w 8"/>
                <a:gd name="T5" fmla="*/ 15875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0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6" name="Freeform 291">
              <a:extLst>
                <a:ext uri="{FF2B5EF4-FFF2-40B4-BE49-F238E27FC236}">
                  <a16:creationId xmlns:a16="http://schemas.microsoft.com/office/drawing/2014/main" id="{FE83F469-6680-458C-81D5-136F1B58E96A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21522" y="2135158"/>
              <a:ext cx="44053" cy="39141"/>
            </a:xfrm>
            <a:custGeom>
              <a:avLst/>
              <a:gdLst>
                <a:gd name="T0" fmla="*/ 0 w 16"/>
                <a:gd name="T1" fmla="*/ 30163 h 16"/>
                <a:gd name="T2" fmla="*/ 17463 w 16"/>
                <a:gd name="T3" fmla="*/ 30163 h 16"/>
                <a:gd name="T4" fmla="*/ 34925 w 16"/>
                <a:gd name="T5" fmla="*/ 0 h 16"/>
                <a:gd name="T6" fmla="*/ 0 w 16"/>
                <a:gd name="T7" fmla="*/ 15082 h 16"/>
                <a:gd name="T8" fmla="*/ 0 w 16"/>
                <a:gd name="T9" fmla="*/ 3016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6"/>
                <a:gd name="T17" fmla="*/ 16 w 1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6">
                  <a:moveTo>
                    <a:pt x="0" y="16"/>
                  </a:moveTo>
                  <a:lnTo>
                    <a:pt x="8" y="16"/>
                  </a:lnTo>
                  <a:lnTo>
                    <a:pt x="16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7" name="Freeform 292">
              <a:extLst>
                <a:ext uri="{FF2B5EF4-FFF2-40B4-BE49-F238E27FC236}">
                  <a16:creationId xmlns:a16="http://schemas.microsoft.com/office/drawing/2014/main" id="{C5B292DA-75D5-4F58-A022-98087142F5E0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6784444" y="2153697"/>
              <a:ext cx="22027" cy="39141"/>
            </a:xfrm>
            <a:custGeom>
              <a:avLst/>
              <a:gdLst>
                <a:gd name="T0" fmla="*/ 0 w 8"/>
                <a:gd name="T1" fmla="*/ 15082 h 16"/>
                <a:gd name="T2" fmla="*/ 0 w 8"/>
                <a:gd name="T3" fmla="*/ 30163 h 16"/>
                <a:gd name="T4" fmla="*/ 0 w 8"/>
                <a:gd name="T5" fmla="*/ 15082 h 16"/>
                <a:gd name="T6" fmla="*/ 17463 w 8"/>
                <a:gd name="T7" fmla="*/ 0 h 16"/>
                <a:gd name="T8" fmla="*/ 0 w 8"/>
                <a:gd name="T9" fmla="*/ 15082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6"/>
                <a:gd name="T17" fmla="*/ 8 w 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6">
                  <a:moveTo>
                    <a:pt x="0" y="8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8" name="Freeform 293">
              <a:extLst>
                <a:ext uri="{FF2B5EF4-FFF2-40B4-BE49-F238E27FC236}">
                  <a16:creationId xmlns:a16="http://schemas.microsoft.com/office/drawing/2014/main" id="{ED7999EE-B05C-4C89-A214-F11EDAC764B9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894577" y="2135158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0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9" name="Freeform 294">
              <a:extLst>
                <a:ext uri="{FF2B5EF4-FFF2-40B4-BE49-F238E27FC236}">
                  <a16:creationId xmlns:a16="http://schemas.microsoft.com/office/drawing/2014/main" id="{B3DB8311-0800-45D6-8FF8-78E264AF760A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894577" y="2116617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0" name="Freeform 295">
              <a:extLst>
                <a:ext uri="{FF2B5EF4-FFF2-40B4-BE49-F238E27FC236}">
                  <a16:creationId xmlns:a16="http://schemas.microsoft.com/office/drawing/2014/main" id="{D676E934-45C2-4FE0-A096-4FB928524699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043549" y="2135158"/>
              <a:ext cx="240290" cy="288401"/>
            </a:xfrm>
            <a:custGeom>
              <a:avLst/>
              <a:gdLst>
                <a:gd name="T0" fmla="*/ 0 w 88"/>
                <a:gd name="T1" fmla="*/ 222250 h 120"/>
                <a:gd name="T2" fmla="*/ 17318 w 88"/>
                <a:gd name="T3" fmla="*/ 222250 h 120"/>
                <a:gd name="T4" fmla="*/ 51955 w 88"/>
                <a:gd name="T5" fmla="*/ 222250 h 120"/>
                <a:gd name="T6" fmla="*/ 69273 w 88"/>
                <a:gd name="T7" fmla="*/ 207433 h 120"/>
                <a:gd name="T8" fmla="*/ 86591 w 88"/>
                <a:gd name="T9" fmla="*/ 222250 h 120"/>
                <a:gd name="T10" fmla="*/ 155864 w 88"/>
                <a:gd name="T11" fmla="*/ 207433 h 120"/>
                <a:gd name="T12" fmla="*/ 173182 w 88"/>
                <a:gd name="T13" fmla="*/ 192617 h 120"/>
                <a:gd name="T14" fmla="*/ 155864 w 88"/>
                <a:gd name="T15" fmla="*/ 192617 h 120"/>
                <a:gd name="T16" fmla="*/ 190500 w 88"/>
                <a:gd name="T17" fmla="*/ 162983 h 120"/>
                <a:gd name="T18" fmla="*/ 173182 w 88"/>
                <a:gd name="T19" fmla="*/ 148167 h 120"/>
                <a:gd name="T20" fmla="*/ 138545 w 88"/>
                <a:gd name="T21" fmla="*/ 148167 h 120"/>
                <a:gd name="T22" fmla="*/ 155864 w 88"/>
                <a:gd name="T23" fmla="*/ 148167 h 120"/>
                <a:gd name="T24" fmla="*/ 138545 w 88"/>
                <a:gd name="T25" fmla="*/ 118533 h 120"/>
                <a:gd name="T26" fmla="*/ 121227 w 88"/>
                <a:gd name="T27" fmla="*/ 103717 h 120"/>
                <a:gd name="T28" fmla="*/ 103909 w 88"/>
                <a:gd name="T29" fmla="*/ 74083 h 120"/>
                <a:gd name="T30" fmla="*/ 69273 w 88"/>
                <a:gd name="T31" fmla="*/ 74083 h 120"/>
                <a:gd name="T32" fmla="*/ 103909 w 88"/>
                <a:gd name="T33" fmla="*/ 29633 h 120"/>
                <a:gd name="T34" fmla="*/ 51955 w 88"/>
                <a:gd name="T35" fmla="*/ 29633 h 120"/>
                <a:gd name="T36" fmla="*/ 86591 w 88"/>
                <a:gd name="T37" fmla="*/ 14817 h 120"/>
                <a:gd name="T38" fmla="*/ 86591 w 88"/>
                <a:gd name="T39" fmla="*/ 0 h 120"/>
                <a:gd name="T40" fmla="*/ 34636 w 88"/>
                <a:gd name="T41" fmla="*/ 0 h 120"/>
                <a:gd name="T42" fmla="*/ 17318 w 88"/>
                <a:gd name="T43" fmla="*/ 29633 h 120"/>
                <a:gd name="T44" fmla="*/ 17318 w 88"/>
                <a:gd name="T45" fmla="*/ 44450 h 120"/>
                <a:gd name="T46" fmla="*/ 0 w 88"/>
                <a:gd name="T47" fmla="*/ 59267 h 120"/>
                <a:gd name="T48" fmla="*/ 17318 w 88"/>
                <a:gd name="T49" fmla="*/ 59267 h 120"/>
                <a:gd name="T50" fmla="*/ 17318 w 88"/>
                <a:gd name="T51" fmla="*/ 74083 h 120"/>
                <a:gd name="T52" fmla="*/ 0 w 88"/>
                <a:gd name="T53" fmla="*/ 74083 h 120"/>
                <a:gd name="T54" fmla="*/ 17318 w 88"/>
                <a:gd name="T55" fmla="*/ 74083 h 120"/>
                <a:gd name="T56" fmla="*/ 17318 w 88"/>
                <a:gd name="T57" fmla="*/ 88900 h 120"/>
                <a:gd name="T58" fmla="*/ 34636 w 88"/>
                <a:gd name="T59" fmla="*/ 74083 h 120"/>
                <a:gd name="T60" fmla="*/ 34636 w 88"/>
                <a:gd name="T61" fmla="*/ 88900 h 120"/>
                <a:gd name="T62" fmla="*/ 17318 w 88"/>
                <a:gd name="T63" fmla="*/ 103717 h 120"/>
                <a:gd name="T64" fmla="*/ 34636 w 88"/>
                <a:gd name="T65" fmla="*/ 103717 h 120"/>
                <a:gd name="T66" fmla="*/ 69273 w 88"/>
                <a:gd name="T67" fmla="*/ 103717 h 120"/>
                <a:gd name="T68" fmla="*/ 51955 w 88"/>
                <a:gd name="T69" fmla="*/ 103717 h 120"/>
                <a:gd name="T70" fmla="*/ 86591 w 88"/>
                <a:gd name="T71" fmla="*/ 118533 h 120"/>
                <a:gd name="T72" fmla="*/ 69273 w 88"/>
                <a:gd name="T73" fmla="*/ 148167 h 120"/>
                <a:gd name="T74" fmla="*/ 34636 w 88"/>
                <a:gd name="T75" fmla="*/ 148167 h 120"/>
                <a:gd name="T76" fmla="*/ 34636 w 88"/>
                <a:gd name="T77" fmla="*/ 162983 h 120"/>
                <a:gd name="T78" fmla="*/ 17318 w 88"/>
                <a:gd name="T79" fmla="*/ 177800 h 120"/>
                <a:gd name="T80" fmla="*/ 17318 w 88"/>
                <a:gd name="T81" fmla="*/ 192617 h 120"/>
                <a:gd name="T82" fmla="*/ 51955 w 88"/>
                <a:gd name="T83" fmla="*/ 192617 h 120"/>
                <a:gd name="T84" fmla="*/ 69273 w 88"/>
                <a:gd name="T85" fmla="*/ 192617 h 120"/>
                <a:gd name="T86" fmla="*/ 34636 w 88"/>
                <a:gd name="T87" fmla="*/ 192617 h 120"/>
                <a:gd name="T88" fmla="*/ 0 w 88"/>
                <a:gd name="T89" fmla="*/ 222250 h 12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8"/>
                <a:gd name="T136" fmla="*/ 0 h 120"/>
                <a:gd name="T137" fmla="*/ 88 w 88"/>
                <a:gd name="T138" fmla="*/ 120 h 12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8" h="120">
                  <a:moveTo>
                    <a:pt x="0" y="120"/>
                  </a:moveTo>
                  <a:lnTo>
                    <a:pt x="8" y="120"/>
                  </a:lnTo>
                  <a:lnTo>
                    <a:pt x="24" y="120"/>
                  </a:lnTo>
                  <a:lnTo>
                    <a:pt x="32" y="112"/>
                  </a:lnTo>
                  <a:lnTo>
                    <a:pt x="40" y="120"/>
                  </a:lnTo>
                  <a:lnTo>
                    <a:pt x="72" y="112"/>
                  </a:lnTo>
                  <a:lnTo>
                    <a:pt x="80" y="104"/>
                  </a:lnTo>
                  <a:lnTo>
                    <a:pt x="72" y="104"/>
                  </a:lnTo>
                  <a:lnTo>
                    <a:pt x="88" y="88"/>
                  </a:lnTo>
                  <a:lnTo>
                    <a:pt x="80" y="80"/>
                  </a:lnTo>
                  <a:lnTo>
                    <a:pt x="64" y="80"/>
                  </a:lnTo>
                  <a:lnTo>
                    <a:pt x="72" y="80"/>
                  </a:lnTo>
                  <a:lnTo>
                    <a:pt x="64" y="64"/>
                  </a:lnTo>
                  <a:lnTo>
                    <a:pt x="56" y="56"/>
                  </a:lnTo>
                  <a:lnTo>
                    <a:pt x="48" y="40"/>
                  </a:lnTo>
                  <a:lnTo>
                    <a:pt x="32" y="40"/>
                  </a:lnTo>
                  <a:lnTo>
                    <a:pt x="48" y="16"/>
                  </a:lnTo>
                  <a:lnTo>
                    <a:pt x="24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16" y="0"/>
                  </a:lnTo>
                  <a:lnTo>
                    <a:pt x="8" y="16"/>
                  </a:lnTo>
                  <a:lnTo>
                    <a:pt x="8" y="24"/>
                  </a:lnTo>
                  <a:lnTo>
                    <a:pt x="0" y="32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8" y="48"/>
                  </a:lnTo>
                  <a:lnTo>
                    <a:pt x="16" y="40"/>
                  </a:lnTo>
                  <a:lnTo>
                    <a:pt x="16" y="48"/>
                  </a:lnTo>
                  <a:lnTo>
                    <a:pt x="8" y="56"/>
                  </a:lnTo>
                  <a:lnTo>
                    <a:pt x="16" y="56"/>
                  </a:lnTo>
                  <a:lnTo>
                    <a:pt x="32" y="56"/>
                  </a:lnTo>
                  <a:lnTo>
                    <a:pt x="24" y="56"/>
                  </a:lnTo>
                  <a:lnTo>
                    <a:pt x="40" y="64"/>
                  </a:lnTo>
                  <a:lnTo>
                    <a:pt x="32" y="80"/>
                  </a:lnTo>
                  <a:lnTo>
                    <a:pt x="16" y="80"/>
                  </a:lnTo>
                  <a:lnTo>
                    <a:pt x="16" y="88"/>
                  </a:lnTo>
                  <a:lnTo>
                    <a:pt x="8" y="96"/>
                  </a:lnTo>
                  <a:lnTo>
                    <a:pt x="8" y="104"/>
                  </a:lnTo>
                  <a:lnTo>
                    <a:pt x="24" y="104"/>
                  </a:lnTo>
                  <a:lnTo>
                    <a:pt x="32" y="104"/>
                  </a:lnTo>
                  <a:lnTo>
                    <a:pt x="16" y="104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1" name="Freeform 296">
              <a:extLst>
                <a:ext uri="{FF2B5EF4-FFF2-40B4-BE49-F238E27FC236}">
                  <a16:creationId xmlns:a16="http://schemas.microsoft.com/office/drawing/2014/main" id="{5A0F9B2C-4BEB-4795-8EDA-67F9BDC24AE1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6480077" y="2691360"/>
              <a:ext cx="22027" cy="57680"/>
            </a:xfrm>
            <a:custGeom>
              <a:avLst/>
              <a:gdLst>
                <a:gd name="T0" fmla="*/ 0 w 8"/>
                <a:gd name="T1" fmla="*/ 0 h 24"/>
                <a:gd name="T2" fmla="*/ 0 w 8"/>
                <a:gd name="T3" fmla="*/ 29633 h 24"/>
                <a:gd name="T4" fmla="*/ 17463 w 8"/>
                <a:gd name="T5" fmla="*/ 44450 h 24"/>
                <a:gd name="T6" fmla="*/ 17463 w 8"/>
                <a:gd name="T7" fmla="*/ 0 h 24"/>
                <a:gd name="T8" fmla="*/ 0 w 8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4"/>
                <a:gd name="T17" fmla="*/ 8 w 8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4">
                  <a:moveTo>
                    <a:pt x="0" y="0"/>
                  </a:moveTo>
                  <a:lnTo>
                    <a:pt x="0" y="16"/>
                  </a:lnTo>
                  <a:lnTo>
                    <a:pt x="8" y="24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Freeform 297">
              <a:extLst>
                <a:ext uri="{FF2B5EF4-FFF2-40B4-BE49-F238E27FC236}">
                  <a16:creationId xmlns:a16="http://schemas.microsoft.com/office/drawing/2014/main" id="{58182A76-EC84-4B41-889D-F359CD1A542A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6458049" y="2749040"/>
              <a:ext cx="64077" cy="76221"/>
            </a:xfrm>
            <a:custGeom>
              <a:avLst/>
              <a:gdLst>
                <a:gd name="T0" fmla="*/ 0 w 24"/>
                <a:gd name="T1" fmla="*/ 0 h 32"/>
                <a:gd name="T2" fmla="*/ 16933 w 24"/>
                <a:gd name="T3" fmla="*/ 58738 h 32"/>
                <a:gd name="T4" fmla="*/ 50800 w 24"/>
                <a:gd name="T5" fmla="*/ 58738 h 32"/>
                <a:gd name="T6" fmla="*/ 50800 w 24"/>
                <a:gd name="T7" fmla="*/ 14685 h 32"/>
                <a:gd name="T8" fmla="*/ 33867 w 24"/>
                <a:gd name="T9" fmla="*/ 0 h 32"/>
                <a:gd name="T10" fmla="*/ 0 w 24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32"/>
                <a:gd name="T20" fmla="*/ 24 w 24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32">
                  <a:moveTo>
                    <a:pt x="0" y="0"/>
                  </a:moveTo>
                  <a:lnTo>
                    <a:pt x="8" y="32"/>
                  </a:lnTo>
                  <a:lnTo>
                    <a:pt x="24" y="32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Freeform 298">
              <a:extLst>
                <a:ext uri="{FF2B5EF4-FFF2-40B4-BE49-F238E27FC236}">
                  <a16:creationId xmlns:a16="http://schemas.microsoft.com/office/drawing/2014/main" id="{A7D93EC3-3B7A-4D9E-A683-F8B1B399342A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610233" y="2843800"/>
              <a:ext cx="108131" cy="57680"/>
            </a:xfrm>
            <a:custGeom>
              <a:avLst/>
              <a:gdLst>
                <a:gd name="T0" fmla="*/ 0 w 40"/>
                <a:gd name="T1" fmla="*/ 14817 h 24"/>
                <a:gd name="T2" fmla="*/ 0 w 40"/>
                <a:gd name="T3" fmla="*/ 29633 h 24"/>
                <a:gd name="T4" fmla="*/ 68580 w 40"/>
                <a:gd name="T5" fmla="*/ 44450 h 24"/>
                <a:gd name="T6" fmla="*/ 85725 w 40"/>
                <a:gd name="T7" fmla="*/ 0 h 24"/>
                <a:gd name="T8" fmla="*/ 51435 w 40"/>
                <a:gd name="T9" fmla="*/ 14817 h 24"/>
                <a:gd name="T10" fmla="*/ 17145 w 40"/>
                <a:gd name="T11" fmla="*/ 14817 h 24"/>
                <a:gd name="T12" fmla="*/ 0 w 40"/>
                <a:gd name="T13" fmla="*/ 1481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24"/>
                <a:gd name="T23" fmla="*/ 40 w 40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24">
                  <a:moveTo>
                    <a:pt x="0" y="8"/>
                  </a:moveTo>
                  <a:lnTo>
                    <a:pt x="0" y="16"/>
                  </a:lnTo>
                  <a:lnTo>
                    <a:pt x="32" y="24"/>
                  </a:lnTo>
                  <a:lnTo>
                    <a:pt x="40" y="0"/>
                  </a:lnTo>
                  <a:lnTo>
                    <a:pt x="24" y="8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Freeform 299">
              <a:extLst>
                <a:ext uri="{FF2B5EF4-FFF2-40B4-BE49-F238E27FC236}">
                  <a16:creationId xmlns:a16="http://schemas.microsoft.com/office/drawing/2014/main" id="{98E478F1-F089-483E-ACE6-AAA3BD32ADD5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6916604" y="2843800"/>
              <a:ext cx="64077" cy="76221"/>
            </a:xfrm>
            <a:custGeom>
              <a:avLst/>
              <a:gdLst>
                <a:gd name="T0" fmla="*/ 0 w 24"/>
                <a:gd name="T1" fmla="*/ 14685 h 32"/>
                <a:gd name="T2" fmla="*/ 0 w 24"/>
                <a:gd name="T3" fmla="*/ 29369 h 32"/>
                <a:gd name="T4" fmla="*/ 16933 w 24"/>
                <a:gd name="T5" fmla="*/ 44053 h 32"/>
                <a:gd name="T6" fmla="*/ 33867 w 24"/>
                <a:gd name="T7" fmla="*/ 58738 h 32"/>
                <a:gd name="T8" fmla="*/ 33867 w 24"/>
                <a:gd name="T9" fmla="*/ 44053 h 32"/>
                <a:gd name="T10" fmla="*/ 50800 w 24"/>
                <a:gd name="T11" fmla="*/ 58738 h 32"/>
                <a:gd name="T12" fmla="*/ 33867 w 24"/>
                <a:gd name="T13" fmla="*/ 29369 h 32"/>
                <a:gd name="T14" fmla="*/ 50800 w 24"/>
                <a:gd name="T15" fmla="*/ 29369 h 32"/>
                <a:gd name="T16" fmla="*/ 33867 w 24"/>
                <a:gd name="T17" fmla="*/ 14685 h 32"/>
                <a:gd name="T18" fmla="*/ 16933 w 24"/>
                <a:gd name="T19" fmla="*/ 0 h 32"/>
                <a:gd name="T20" fmla="*/ 0 w 24"/>
                <a:gd name="T21" fmla="*/ 14685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32"/>
                <a:gd name="T35" fmla="*/ 24 w 24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32">
                  <a:moveTo>
                    <a:pt x="0" y="8"/>
                  </a:moveTo>
                  <a:lnTo>
                    <a:pt x="0" y="16"/>
                  </a:lnTo>
                  <a:lnTo>
                    <a:pt x="8" y="24"/>
                  </a:lnTo>
                  <a:lnTo>
                    <a:pt x="16" y="32"/>
                  </a:lnTo>
                  <a:lnTo>
                    <a:pt x="16" y="24"/>
                  </a:lnTo>
                  <a:lnTo>
                    <a:pt x="24" y="32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5" name="Freeform 300">
              <a:extLst>
                <a:ext uri="{FF2B5EF4-FFF2-40B4-BE49-F238E27FC236}">
                  <a16:creationId xmlns:a16="http://schemas.microsoft.com/office/drawing/2014/main" id="{6198FBF4-1136-4032-819B-5908651F6D94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7002708" y="2938561"/>
              <a:ext cx="88106" cy="39141"/>
            </a:xfrm>
            <a:custGeom>
              <a:avLst/>
              <a:gdLst>
                <a:gd name="T0" fmla="*/ 0 w 32"/>
                <a:gd name="T1" fmla="*/ 15082 h 16"/>
                <a:gd name="T2" fmla="*/ 34925 w 32"/>
                <a:gd name="T3" fmla="*/ 30163 h 16"/>
                <a:gd name="T4" fmla="*/ 69850 w 32"/>
                <a:gd name="T5" fmla="*/ 30163 h 16"/>
                <a:gd name="T6" fmla="*/ 69850 w 32"/>
                <a:gd name="T7" fmla="*/ 15082 h 16"/>
                <a:gd name="T8" fmla="*/ 52387 w 32"/>
                <a:gd name="T9" fmla="*/ 15082 h 16"/>
                <a:gd name="T10" fmla="*/ 0 w 32"/>
                <a:gd name="T11" fmla="*/ 0 h 16"/>
                <a:gd name="T12" fmla="*/ 0 w 32"/>
                <a:gd name="T13" fmla="*/ 15082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16"/>
                <a:gd name="T23" fmla="*/ 32 w 32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16">
                  <a:moveTo>
                    <a:pt x="0" y="8"/>
                  </a:moveTo>
                  <a:lnTo>
                    <a:pt x="16" y="16"/>
                  </a:lnTo>
                  <a:lnTo>
                    <a:pt x="32" y="16"/>
                  </a:lnTo>
                  <a:lnTo>
                    <a:pt x="32" y="8"/>
                  </a:lnTo>
                  <a:lnTo>
                    <a:pt x="24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6" name="Freeform 301">
              <a:extLst>
                <a:ext uri="{FF2B5EF4-FFF2-40B4-BE49-F238E27FC236}">
                  <a16:creationId xmlns:a16="http://schemas.microsoft.com/office/drawing/2014/main" id="{1188AD56-E89C-4302-8461-8A27BDF5BB09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7287051" y="2938561"/>
              <a:ext cx="86105" cy="39141"/>
            </a:xfrm>
            <a:custGeom>
              <a:avLst/>
              <a:gdLst>
                <a:gd name="T0" fmla="*/ 0 w 32"/>
                <a:gd name="T1" fmla="*/ 30163 h 16"/>
                <a:gd name="T2" fmla="*/ 17066 w 32"/>
                <a:gd name="T3" fmla="*/ 30163 h 16"/>
                <a:gd name="T4" fmla="*/ 34132 w 32"/>
                <a:gd name="T5" fmla="*/ 30163 h 16"/>
                <a:gd name="T6" fmla="*/ 51197 w 32"/>
                <a:gd name="T7" fmla="*/ 30163 h 16"/>
                <a:gd name="T8" fmla="*/ 51197 w 32"/>
                <a:gd name="T9" fmla="*/ 15082 h 16"/>
                <a:gd name="T10" fmla="*/ 68263 w 32"/>
                <a:gd name="T11" fmla="*/ 0 h 16"/>
                <a:gd name="T12" fmla="*/ 0 w 32"/>
                <a:gd name="T13" fmla="*/ 30163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16"/>
                <a:gd name="T23" fmla="*/ 32 w 32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16">
                  <a:moveTo>
                    <a:pt x="0" y="16"/>
                  </a:moveTo>
                  <a:lnTo>
                    <a:pt x="8" y="16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32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7" name="Freeform 302">
              <a:extLst>
                <a:ext uri="{FF2B5EF4-FFF2-40B4-BE49-F238E27FC236}">
                  <a16:creationId xmlns:a16="http://schemas.microsoft.com/office/drawing/2014/main" id="{FA27FA64-3068-48B9-952B-26B17E0FA608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261812" y="2786120"/>
              <a:ext cx="44053" cy="39141"/>
            </a:xfrm>
            <a:custGeom>
              <a:avLst/>
              <a:gdLst>
                <a:gd name="T0" fmla="*/ 0 w 16"/>
                <a:gd name="T1" fmla="*/ 15082 h 16"/>
                <a:gd name="T2" fmla="*/ 34925 w 16"/>
                <a:gd name="T3" fmla="*/ 30163 h 16"/>
                <a:gd name="T4" fmla="*/ 34925 w 16"/>
                <a:gd name="T5" fmla="*/ 15082 h 16"/>
                <a:gd name="T6" fmla="*/ 17463 w 16"/>
                <a:gd name="T7" fmla="*/ 0 h 16"/>
                <a:gd name="T8" fmla="*/ 0 w 16"/>
                <a:gd name="T9" fmla="*/ 15082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6"/>
                <a:gd name="T17" fmla="*/ 16 w 1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6">
                  <a:moveTo>
                    <a:pt x="0" y="8"/>
                  </a:moveTo>
                  <a:lnTo>
                    <a:pt x="16" y="16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8" name="Freeform 303">
              <a:extLst>
                <a:ext uri="{FF2B5EF4-FFF2-40B4-BE49-F238E27FC236}">
                  <a16:creationId xmlns:a16="http://schemas.microsoft.com/office/drawing/2014/main" id="{8BF62D4D-2479-48AD-AE56-68E9EE358F6D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584994" y="3208421"/>
              <a:ext cx="22027" cy="18541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14288 h 8"/>
                <a:gd name="T4" fmla="*/ 17463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9" name="Freeform 304">
              <a:extLst>
                <a:ext uri="{FF2B5EF4-FFF2-40B4-BE49-F238E27FC236}">
                  <a16:creationId xmlns:a16="http://schemas.microsoft.com/office/drawing/2014/main" id="{F3CFFD7B-6D58-4BDC-90BB-5B4C652589A0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5673100" y="3187821"/>
              <a:ext cx="42051" cy="39141"/>
            </a:xfrm>
            <a:custGeom>
              <a:avLst/>
              <a:gdLst>
                <a:gd name="T0" fmla="*/ 0 w 16"/>
                <a:gd name="T1" fmla="*/ 30163 h 16"/>
                <a:gd name="T2" fmla="*/ 16669 w 16"/>
                <a:gd name="T3" fmla="*/ 15082 h 16"/>
                <a:gd name="T4" fmla="*/ 16669 w 16"/>
                <a:gd name="T5" fmla="*/ 0 h 16"/>
                <a:gd name="T6" fmla="*/ 33338 w 16"/>
                <a:gd name="T7" fmla="*/ 0 h 16"/>
                <a:gd name="T8" fmla="*/ 0 w 16"/>
                <a:gd name="T9" fmla="*/ 3016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6"/>
                <a:gd name="T17" fmla="*/ 16 w 1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6">
                  <a:moveTo>
                    <a:pt x="0" y="16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16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Freeform 305">
              <a:extLst>
                <a:ext uri="{FF2B5EF4-FFF2-40B4-BE49-F238E27FC236}">
                  <a16:creationId xmlns:a16="http://schemas.microsoft.com/office/drawing/2014/main" id="{51D6E477-7688-4424-B595-5869F1C53D05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10164530" y="4623646"/>
              <a:ext cx="1417714" cy="1034123"/>
            </a:xfrm>
            <a:custGeom>
              <a:avLst/>
              <a:gdLst>
                <a:gd name="T0" fmla="*/ 17292 w 520"/>
                <a:gd name="T1" fmla="*/ 678862 h 432"/>
                <a:gd name="T2" fmla="*/ 138332 w 520"/>
                <a:gd name="T3" fmla="*/ 649346 h 432"/>
                <a:gd name="T4" fmla="*/ 242081 w 520"/>
                <a:gd name="T5" fmla="*/ 619831 h 432"/>
                <a:gd name="T6" fmla="*/ 466871 w 520"/>
                <a:gd name="T7" fmla="*/ 590315 h 432"/>
                <a:gd name="T8" fmla="*/ 536038 w 520"/>
                <a:gd name="T9" fmla="*/ 634588 h 432"/>
                <a:gd name="T10" fmla="*/ 622495 w 520"/>
                <a:gd name="T11" fmla="*/ 619831 h 432"/>
                <a:gd name="T12" fmla="*/ 570621 w 520"/>
                <a:gd name="T13" fmla="*/ 693620 h 432"/>
                <a:gd name="T14" fmla="*/ 622495 w 520"/>
                <a:gd name="T15" fmla="*/ 664104 h 432"/>
                <a:gd name="T16" fmla="*/ 605204 w 520"/>
                <a:gd name="T17" fmla="*/ 693620 h 432"/>
                <a:gd name="T18" fmla="*/ 622495 w 520"/>
                <a:gd name="T19" fmla="*/ 708378 h 432"/>
                <a:gd name="T20" fmla="*/ 622495 w 520"/>
                <a:gd name="T21" fmla="*/ 737894 h 432"/>
                <a:gd name="T22" fmla="*/ 674370 w 520"/>
                <a:gd name="T23" fmla="*/ 782167 h 432"/>
                <a:gd name="T24" fmla="*/ 743536 w 520"/>
                <a:gd name="T25" fmla="*/ 752651 h 432"/>
                <a:gd name="T26" fmla="*/ 760828 w 520"/>
                <a:gd name="T27" fmla="*/ 767409 h 432"/>
                <a:gd name="T28" fmla="*/ 760828 w 520"/>
                <a:gd name="T29" fmla="*/ 796925 h 432"/>
                <a:gd name="T30" fmla="*/ 881868 w 520"/>
                <a:gd name="T31" fmla="*/ 752651 h 432"/>
                <a:gd name="T32" fmla="*/ 1072075 w 520"/>
                <a:gd name="T33" fmla="*/ 575557 h 432"/>
                <a:gd name="T34" fmla="*/ 1123950 w 520"/>
                <a:gd name="T35" fmla="*/ 427978 h 432"/>
                <a:gd name="T36" fmla="*/ 1089367 w 520"/>
                <a:gd name="T37" fmla="*/ 354189 h 432"/>
                <a:gd name="T38" fmla="*/ 1072075 w 520"/>
                <a:gd name="T39" fmla="*/ 324673 h 432"/>
                <a:gd name="T40" fmla="*/ 1020201 w 520"/>
                <a:gd name="T41" fmla="*/ 250884 h 432"/>
                <a:gd name="T42" fmla="*/ 1002909 w 520"/>
                <a:gd name="T43" fmla="*/ 191852 h 432"/>
                <a:gd name="T44" fmla="*/ 985617 w 520"/>
                <a:gd name="T45" fmla="*/ 118063 h 432"/>
                <a:gd name="T46" fmla="*/ 951034 w 520"/>
                <a:gd name="T47" fmla="*/ 103305 h 432"/>
                <a:gd name="T48" fmla="*/ 916451 w 520"/>
                <a:gd name="T49" fmla="*/ 0 h 432"/>
                <a:gd name="T50" fmla="*/ 881868 w 520"/>
                <a:gd name="T51" fmla="*/ 147579 h 432"/>
                <a:gd name="T52" fmla="*/ 829994 w 520"/>
                <a:gd name="T53" fmla="*/ 191852 h 432"/>
                <a:gd name="T54" fmla="*/ 795411 w 520"/>
                <a:gd name="T55" fmla="*/ 177094 h 432"/>
                <a:gd name="T56" fmla="*/ 726245 w 520"/>
                <a:gd name="T57" fmla="*/ 147579 h 432"/>
                <a:gd name="T58" fmla="*/ 708953 w 520"/>
                <a:gd name="T59" fmla="*/ 118063 h 432"/>
                <a:gd name="T60" fmla="*/ 726245 w 520"/>
                <a:gd name="T61" fmla="*/ 73789 h 432"/>
                <a:gd name="T62" fmla="*/ 760828 w 520"/>
                <a:gd name="T63" fmla="*/ 44274 h 432"/>
                <a:gd name="T64" fmla="*/ 726245 w 520"/>
                <a:gd name="T65" fmla="*/ 59031 h 432"/>
                <a:gd name="T66" fmla="*/ 708953 w 520"/>
                <a:gd name="T67" fmla="*/ 44274 h 432"/>
                <a:gd name="T68" fmla="*/ 639787 w 520"/>
                <a:gd name="T69" fmla="*/ 29516 h 432"/>
                <a:gd name="T70" fmla="*/ 587912 w 520"/>
                <a:gd name="T71" fmla="*/ 44274 h 432"/>
                <a:gd name="T72" fmla="*/ 570621 w 520"/>
                <a:gd name="T73" fmla="*/ 88547 h 432"/>
                <a:gd name="T74" fmla="*/ 536038 w 520"/>
                <a:gd name="T75" fmla="*/ 103305 h 432"/>
                <a:gd name="T76" fmla="*/ 536038 w 520"/>
                <a:gd name="T77" fmla="*/ 132821 h 432"/>
                <a:gd name="T78" fmla="*/ 501455 w 520"/>
                <a:gd name="T79" fmla="*/ 132821 h 432"/>
                <a:gd name="T80" fmla="*/ 484163 w 520"/>
                <a:gd name="T81" fmla="*/ 88547 h 432"/>
                <a:gd name="T82" fmla="*/ 432288 w 520"/>
                <a:gd name="T83" fmla="*/ 118063 h 432"/>
                <a:gd name="T84" fmla="*/ 380414 w 520"/>
                <a:gd name="T85" fmla="*/ 162337 h 432"/>
                <a:gd name="T86" fmla="*/ 363122 w 520"/>
                <a:gd name="T87" fmla="*/ 162337 h 432"/>
                <a:gd name="T88" fmla="*/ 345831 w 520"/>
                <a:gd name="T89" fmla="*/ 191852 h 432"/>
                <a:gd name="T90" fmla="*/ 311248 w 520"/>
                <a:gd name="T91" fmla="*/ 191852 h 432"/>
                <a:gd name="T92" fmla="*/ 259373 w 520"/>
                <a:gd name="T93" fmla="*/ 250884 h 432"/>
                <a:gd name="T94" fmla="*/ 69166 w 520"/>
                <a:gd name="T95" fmla="*/ 324673 h 432"/>
                <a:gd name="T96" fmla="*/ 51875 w 520"/>
                <a:gd name="T97" fmla="*/ 339431 h 432"/>
                <a:gd name="T98" fmla="*/ 34583 w 520"/>
                <a:gd name="T99" fmla="*/ 368947 h 432"/>
                <a:gd name="T100" fmla="*/ 17292 w 520"/>
                <a:gd name="T101" fmla="*/ 413220 h 432"/>
                <a:gd name="T102" fmla="*/ 17292 w 520"/>
                <a:gd name="T103" fmla="*/ 427978 h 432"/>
                <a:gd name="T104" fmla="*/ 34583 w 520"/>
                <a:gd name="T105" fmla="*/ 590315 h 432"/>
                <a:gd name="T106" fmla="*/ 0 w 520"/>
                <a:gd name="T107" fmla="*/ 634588 h 43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0"/>
                <a:gd name="T163" fmla="*/ 0 h 432"/>
                <a:gd name="T164" fmla="*/ 520 w 520"/>
                <a:gd name="T165" fmla="*/ 432 h 43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0" h="432">
                  <a:moveTo>
                    <a:pt x="0" y="360"/>
                  </a:moveTo>
                  <a:lnTo>
                    <a:pt x="8" y="368"/>
                  </a:lnTo>
                  <a:lnTo>
                    <a:pt x="32" y="368"/>
                  </a:lnTo>
                  <a:lnTo>
                    <a:pt x="64" y="352"/>
                  </a:lnTo>
                  <a:lnTo>
                    <a:pt x="104" y="352"/>
                  </a:lnTo>
                  <a:lnTo>
                    <a:pt x="112" y="336"/>
                  </a:lnTo>
                  <a:lnTo>
                    <a:pt x="144" y="328"/>
                  </a:lnTo>
                  <a:lnTo>
                    <a:pt x="216" y="320"/>
                  </a:lnTo>
                  <a:lnTo>
                    <a:pt x="248" y="336"/>
                  </a:lnTo>
                  <a:lnTo>
                    <a:pt x="248" y="344"/>
                  </a:lnTo>
                  <a:lnTo>
                    <a:pt x="248" y="368"/>
                  </a:lnTo>
                  <a:lnTo>
                    <a:pt x="288" y="336"/>
                  </a:lnTo>
                  <a:lnTo>
                    <a:pt x="288" y="344"/>
                  </a:lnTo>
                  <a:lnTo>
                    <a:pt x="264" y="376"/>
                  </a:lnTo>
                  <a:lnTo>
                    <a:pt x="272" y="368"/>
                  </a:lnTo>
                  <a:lnTo>
                    <a:pt x="288" y="360"/>
                  </a:lnTo>
                  <a:lnTo>
                    <a:pt x="288" y="368"/>
                  </a:lnTo>
                  <a:lnTo>
                    <a:pt x="280" y="376"/>
                  </a:lnTo>
                  <a:lnTo>
                    <a:pt x="288" y="376"/>
                  </a:lnTo>
                  <a:lnTo>
                    <a:pt x="288" y="384"/>
                  </a:lnTo>
                  <a:lnTo>
                    <a:pt x="296" y="392"/>
                  </a:lnTo>
                  <a:lnTo>
                    <a:pt x="288" y="400"/>
                  </a:lnTo>
                  <a:lnTo>
                    <a:pt x="296" y="424"/>
                  </a:lnTo>
                  <a:lnTo>
                    <a:pt x="312" y="424"/>
                  </a:lnTo>
                  <a:lnTo>
                    <a:pt x="320" y="424"/>
                  </a:lnTo>
                  <a:lnTo>
                    <a:pt x="344" y="408"/>
                  </a:lnTo>
                  <a:lnTo>
                    <a:pt x="344" y="424"/>
                  </a:lnTo>
                  <a:lnTo>
                    <a:pt x="352" y="416"/>
                  </a:lnTo>
                  <a:lnTo>
                    <a:pt x="352" y="424"/>
                  </a:lnTo>
                  <a:lnTo>
                    <a:pt x="352" y="432"/>
                  </a:lnTo>
                  <a:lnTo>
                    <a:pt x="384" y="416"/>
                  </a:lnTo>
                  <a:lnTo>
                    <a:pt x="408" y="408"/>
                  </a:lnTo>
                  <a:lnTo>
                    <a:pt x="432" y="384"/>
                  </a:lnTo>
                  <a:lnTo>
                    <a:pt x="496" y="312"/>
                  </a:lnTo>
                  <a:lnTo>
                    <a:pt x="520" y="272"/>
                  </a:lnTo>
                  <a:lnTo>
                    <a:pt x="520" y="232"/>
                  </a:lnTo>
                  <a:lnTo>
                    <a:pt x="512" y="200"/>
                  </a:lnTo>
                  <a:lnTo>
                    <a:pt x="504" y="192"/>
                  </a:lnTo>
                  <a:lnTo>
                    <a:pt x="504" y="184"/>
                  </a:lnTo>
                  <a:lnTo>
                    <a:pt x="496" y="176"/>
                  </a:lnTo>
                  <a:lnTo>
                    <a:pt x="488" y="144"/>
                  </a:lnTo>
                  <a:lnTo>
                    <a:pt x="472" y="136"/>
                  </a:lnTo>
                  <a:lnTo>
                    <a:pt x="464" y="128"/>
                  </a:lnTo>
                  <a:lnTo>
                    <a:pt x="464" y="104"/>
                  </a:lnTo>
                  <a:lnTo>
                    <a:pt x="456" y="88"/>
                  </a:lnTo>
                  <a:lnTo>
                    <a:pt x="456" y="64"/>
                  </a:lnTo>
                  <a:lnTo>
                    <a:pt x="448" y="56"/>
                  </a:lnTo>
                  <a:lnTo>
                    <a:pt x="440" y="56"/>
                  </a:lnTo>
                  <a:lnTo>
                    <a:pt x="432" y="8"/>
                  </a:lnTo>
                  <a:lnTo>
                    <a:pt x="424" y="0"/>
                  </a:lnTo>
                  <a:lnTo>
                    <a:pt x="424" y="8"/>
                  </a:lnTo>
                  <a:lnTo>
                    <a:pt x="408" y="80"/>
                  </a:lnTo>
                  <a:lnTo>
                    <a:pt x="392" y="104"/>
                  </a:lnTo>
                  <a:lnTo>
                    <a:pt x="384" y="104"/>
                  </a:lnTo>
                  <a:lnTo>
                    <a:pt x="376" y="112"/>
                  </a:lnTo>
                  <a:lnTo>
                    <a:pt x="368" y="96"/>
                  </a:lnTo>
                  <a:lnTo>
                    <a:pt x="352" y="80"/>
                  </a:lnTo>
                  <a:lnTo>
                    <a:pt x="336" y="80"/>
                  </a:lnTo>
                  <a:lnTo>
                    <a:pt x="336" y="72"/>
                  </a:lnTo>
                  <a:lnTo>
                    <a:pt x="328" y="64"/>
                  </a:lnTo>
                  <a:lnTo>
                    <a:pt x="336" y="56"/>
                  </a:lnTo>
                  <a:lnTo>
                    <a:pt x="336" y="40"/>
                  </a:lnTo>
                  <a:lnTo>
                    <a:pt x="344" y="40"/>
                  </a:lnTo>
                  <a:lnTo>
                    <a:pt x="352" y="24"/>
                  </a:lnTo>
                  <a:lnTo>
                    <a:pt x="344" y="24"/>
                  </a:lnTo>
                  <a:lnTo>
                    <a:pt x="336" y="32"/>
                  </a:lnTo>
                  <a:lnTo>
                    <a:pt x="336" y="24"/>
                  </a:lnTo>
                  <a:lnTo>
                    <a:pt x="328" y="24"/>
                  </a:lnTo>
                  <a:lnTo>
                    <a:pt x="296" y="8"/>
                  </a:lnTo>
                  <a:lnTo>
                    <a:pt x="296" y="16"/>
                  </a:lnTo>
                  <a:lnTo>
                    <a:pt x="288" y="24"/>
                  </a:lnTo>
                  <a:lnTo>
                    <a:pt x="272" y="24"/>
                  </a:lnTo>
                  <a:lnTo>
                    <a:pt x="264" y="32"/>
                  </a:lnTo>
                  <a:lnTo>
                    <a:pt x="264" y="48"/>
                  </a:lnTo>
                  <a:lnTo>
                    <a:pt x="256" y="48"/>
                  </a:lnTo>
                  <a:lnTo>
                    <a:pt x="248" y="56"/>
                  </a:lnTo>
                  <a:lnTo>
                    <a:pt x="256" y="64"/>
                  </a:lnTo>
                  <a:lnTo>
                    <a:pt x="248" y="72"/>
                  </a:lnTo>
                  <a:lnTo>
                    <a:pt x="240" y="64"/>
                  </a:lnTo>
                  <a:lnTo>
                    <a:pt x="232" y="72"/>
                  </a:lnTo>
                  <a:lnTo>
                    <a:pt x="224" y="56"/>
                  </a:lnTo>
                  <a:lnTo>
                    <a:pt x="224" y="48"/>
                  </a:lnTo>
                  <a:lnTo>
                    <a:pt x="216" y="48"/>
                  </a:lnTo>
                  <a:lnTo>
                    <a:pt x="200" y="64"/>
                  </a:lnTo>
                  <a:lnTo>
                    <a:pt x="192" y="64"/>
                  </a:lnTo>
                  <a:lnTo>
                    <a:pt x="176" y="88"/>
                  </a:lnTo>
                  <a:lnTo>
                    <a:pt x="168" y="80"/>
                  </a:lnTo>
                  <a:lnTo>
                    <a:pt x="168" y="88"/>
                  </a:lnTo>
                  <a:lnTo>
                    <a:pt x="168" y="96"/>
                  </a:lnTo>
                  <a:lnTo>
                    <a:pt x="160" y="104"/>
                  </a:lnTo>
                  <a:lnTo>
                    <a:pt x="160" y="88"/>
                  </a:lnTo>
                  <a:lnTo>
                    <a:pt x="144" y="104"/>
                  </a:lnTo>
                  <a:lnTo>
                    <a:pt x="144" y="112"/>
                  </a:lnTo>
                  <a:lnTo>
                    <a:pt x="120" y="136"/>
                  </a:lnTo>
                  <a:lnTo>
                    <a:pt x="56" y="152"/>
                  </a:lnTo>
                  <a:lnTo>
                    <a:pt x="32" y="176"/>
                  </a:lnTo>
                  <a:lnTo>
                    <a:pt x="32" y="168"/>
                  </a:lnTo>
                  <a:lnTo>
                    <a:pt x="24" y="184"/>
                  </a:lnTo>
                  <a:lnTo>
                    <a:pt x="24" y="192"/>
                  </a:lnTo>
                  <a:lnTo>
                    <a:pt x="16" y="200"/>
                  </a:lnTo>
                  <a:lnTo>
                    <a:pt x="16" y="240"/>
                  </a:lnTo>
                  <a:lnTo>
                    <a:pt x="8" y="224"/>
                  </a:lnTo>
                  <a:lnTo>
                    <a:pt x="8" y="240"/>
                  </a:lnTo>
                  <a:lnTo>
                    <a:pt x="8" y="232"/>
                  </a:lnTo>
                  <a:lnTo>
                    <a:pt x="16" y="280"/>
                  </a:lnTo>
                  <a:lnTo>
                    <a:pt x="16" y="320"/>
                  </a:lnTo>
                  <a:lnTo>
                    <a:pt x="8" y="344"/>
                  </a:lnTo>
                  <a:lnTo>
                    <a:pt x="0" y="344"/>
                  </a:lnTo>
                  <a:lnTo>
                    <a:pt x="0" y="360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1" name="Freeform 306">
              <a:extLst>
                <a:ext uri="{FF2B5EF4-FFF2-40B4-BE49-F238E27FC236}">
                  <a16:creationId xmlns:a16="http://schemas.microsoft.com/office/drawing/2014/main" id="{934F824A-BD26-465A-9809-5D04196A81D4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0863374" y="5523869"/>
              <a:ext cx="44053" cy="18541"/>
            </a:xfrm>
            <a:custGeom>
              <a:avLst/>
              <a:gdLst>
                <a:gd name="T0" fmla="*/ 0 w 16"/>
                <a:gd name="T1" fmla="*/ 14288 h 8"/>
                <a:gd name="T2" fmla="*/ 17463 w 16"/>
                <a:gd name="T3" fmla="*/ 14288 h 8"/>
                <a:gd name="T4" fmla="*/ 34925 w 16"/>
                <a:gd name="T5" fmla="*/ 14288 h 8"/>
                <a:gd name="T6" fmla="*/ 34925 w 16"/>
                <a:gd name="T7" fmla="*/ 0 h 8"/>
                <a:gd name="T8" fmla="*/ 0 w 16"/>
                <a:gd name="T9" fmla="*/ 1428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8"/>
                  </a:moveTo>
                  <a:lnTo>
                    <a:pt x="8" y="8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2" name="Freeform 307">
              <a:extLst>
                <a:ext uri="{FF2B5EF4-FFF2-40B4-BE49-F238E27FC236}">
                  <a16:creationId xmlns:a16="http://schemas.microsoft.com/office/drawing/2014/main" id="{420464B6-2FA4-4208-9E6B-FD6DE0468ADC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1015558" y="5715450"/>
              <a:ext cx="130158" cy="96821"/>
            </a:xfrm>
            <a:custGeom>
              <a:avLst/>
              <a:gdLst>
                <a:gd name="T0" fmla="*/ 17198 w 48"/>
                <a:gd name="T1" fmla="*/ 0 h 40"/>
                <a:gd name="T2" fmla="*/ 0 w 48"/>
                <a:gd name="T3" fmla="*/ 59690 h 40"/>
                <a:gd name="T4" fmla="*/ 0 w 48"/>
                <a:gd name="T5" fmla="*/ 74613 h 40"/>
                <a:gd name="T6" fmla="*/ 17198 w 48"/>
                <a:gd name="T7" fmla="*/ 74613 h 40"/>
                <a:gd name="T8" fmla="*/ 51594 w 48"/>
                <a:gd name="T9" fmla="*/ 59690 h 40"/>
                <a:gd name="T10" fmla="*/ 103188 w 48"/>
                <a:gd name="T11" fmla="*/ 0 h 40"/>
                <a:gd name="T12" fmla="*/ 51594 w 48"/>
                <a:gd name="T13" fmla="*/ 14923 h 40"/>
                <a:gd name="T14" fmla="*/ 17198 w 48"/>
                <a:gd name="T15" fmla="*/ 0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40"/>
                <a:gd name="T26" fmla="*/ 48 w 48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40">
                  <a:moveTo>
                    <a:pt x="8" y="0"/>
                  </a:moveTo>
                  <a:lnTo>
                    <a:pt x="0" y="32"/>
                  </a:lnTo>
                  <a:lnTo>
                    <a:pt x="0" y="40"/>
                  </a:lnTo>
                  <a:lnTo>
                    <a:pt x="8" y="40"/>
                  </a:lnTo>
                  <a:lnTo>
                    <a:pt x="24" y="32"/>
                  </a:lnTo>
                  <a:lnTo>
                    <a:pt x="48" y="0"/>
                  </a:lnTo>
                  <a:lnTo>
                    <a:pt x="24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3" name="Freeform 308">
              <a:extLst>
                <a:ext uri="{FF2B5EF4-FFF2-40B4-BE49-F238E27FC236}">
                  <a16:creationId xmlns:a16="http://schemas.microsoft.com/office/drawing/2014/main" id="{8BB907CC-39B8-44D1-8593-64E0BEA6DB29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9641898" y="4030364"/>
              <a:ext cx="392474" cy="422302"/>
            </a:xfrm>
            <a:custGeom>
              <a:avLst/>
              <a:gdLst>
                <a:gd name="T0" fmla="*/ 0 w 144"/>
                <a:gd name="T1" fmla="*/ 0 h 176"/>
                <a:gd name="T2" fmla="*/ 0 w 144"/>
                <a:gd name="T3" fmla="*/ 29585 h 176"/>
                <a:gd name="T4" fmla="*/ 34572 w 144"/>
                <a:gd name="T5" fmla="*/ 59171 h 176"/>
                <a:gd name="T6" fmla="*/ 69144 w 144"/>
                <a:gd name="T7" fmla="*/ 88756 h 176"/>
                <a:gd name="T8" fmla="*/ 103717 w 144"/>
                <a:gd name="T9" fmla="*/ 103548 h 176"/>
                <a:gd name="T10" fmla="*/ 103717 w 144"/>
                <a:gd name="T11" fmla="*/ 147926 h 176"/>
                <a:gd name="T12" fmla="*/ 138289 w 144"/>
                <a:gd name="T13" fmla="*/ 177512 h 176"/>
                <a:gd name="T14" fmla="*/ 155575 w 144"/>
                <a:gd name="T15" fmla="*/ 221890 h 176"/>
                <a:gd name="T16" fmla="*/ 172861 w 144"/>
                <a:gd name="T17" fmla="*/ 251475 h 176"/>
                <a:gd name="T18" fmla="*/ 259292 w 144"/>
                <a:gd name="T19" fmla="*/ 310645 h 176"/>
                <a:gd name="T20" fmla="*/ 259292 w 144"/>
                <a:gd name="T21" fmla="*/ 325438 h 176"/>
                <a:gd name="T22" fmla="*/ 276578 w 144"/>
                <a:gd name="T23" fmla="*/ 310645 h 176"/>
                <a:gd name="T24" fmla="*/ 293864 w 144"/>
                <a:gd name="T25" fmla="*/ 325438 h 176"/>
                <a:gd name="T26" fmla="*/ 311150 w 144"/>
                <a:gd name="T27" fmla="*/ 251475 h 176"/>
                <a:gd name="T28" fmla="*/ 293864 w 144"/>
                <a:gd name="T29" fmla="*/ 221890 h 176"/>
                <a:gd name="T30" fmla="*/ 276578 w 144"/>
                <a:gd name="T31" fmla="*/ 221890 h 176"/>
                <a:gd name="T32" fmla="*/ 259292 w 144"/>
                <a:gd name="T33" fmla="*/ 192304 h 176"/>
                <a:gd name="T34" fmla="*/ 242006 w 144"/>
                <a:gd name="T35" fmla="*/ 192304 h 176"/>
                <a:gd name="T36" fmla="*/ 224719 w 144"/>
                <a:gd name="T37" fmla="*/ 177512 h 176"/>
                <a:gd name="T38" fmla="*/ 242006 w 144"/>
                <a:gd name="T39" fmla="*/ 162719 h 176"/>
                <a:gd name="T40" fmla="*/ 224719 w 144"/>
                <a:gd name="T41" fmla="*/ 147926 h 176"/>
                <a:gd name="T42" fmla="*/ 224719 w 144"/>
                <a:gd name="T43" fmla="*/ 133134 h 176"/>
                <a:gd name="T44" fmla="*/ 172861 w 144"/>
                <a:gd name="T45" fmla="*/ 103548 h 176"/>
                <a:gd name="T46" fmla="*/ 155575 w 144"/>
                <a:gd name="T47" fmla="*/ 103548 h 176"/>
                <a:gd name="T48" fmla="*/ 51858 w 144"/>
                <a:gd name="T49" fmla="*/ 14793 h 176"/>
                <a:gd name="T50" fmla="*/ 0 w 144"/>
                <a:gd name="T51" fmla="*/ 0 h 17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44"/>
                <a:gd name="T79" fmla="*/ 0 h 176"/>
                <a:gd name="T80" fmla="*/ 144 w 144"/>
                <a:gd name="T81" fmla="*/ 176 h 17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44" h="176">
                  <a:moveTo>
                    <a:pt x="0" y="0"/>
                  </a:moveTo>
                  <a:lnTo>
                    <a:pt x="0" y="16"/>
                  </a:lnTo>
                  <a:lnTo>
                    <a:pt x="16" y="32"/>
                  </a:lnTo>
                  <a:lnTo>
                    <a:pt x="32" y="48"/>
                  </a:lnTo>
                  <a:lnTo>
                    <a:pt x="48" y="56"/>
                  </a:lnTo>
                  <a:lnTo>
                    <a:pt x="48" y="80"/>
                  </a:lnTo>
                  <a:lnTo>
                    <a:pt x="64" y="96"/>
                  </a:lnTo>
                  <a:lnTo>
                    <a:pt x="72" y="120"/>
                  </a:lnTo>
                  <a:lnTo>
                    <a:pt x="80" y="136"/>
                  </a:lnTo>
                  <a:lnTo>
                    <a:pt x="120" y="168"/>
                  </a:lnTo>
                  <a:lnTo>
                    <a:pt x="120" y="176"/>
                  </a:lnTo>
                  <a:lnTo>
                    <a:pt x="128" y="168"/>
                  </a:lnTo>
                  <a:lnTo>
                    <a:pt x="136" y="176"/>
                  </a:lnTo>
                  <a:lnTo>
                    <a:pt x="144" y="136"/>
                  </a:lnTo>
                  <a:lnTo>
                    <a:pt x="136" y="120"/>
                  </a:lnTo>
                  <a:lnTo>
                    <a:pt x="128" y="120"/>
                  </a:lnTo>
                  <a:lnTo>
                    <a:pt x="120" y="104"/>
                  </a:lnTo>
                  <a:lnTo>
                    <a:pt x="112" y="104"/>
                  </a:lnTo>
                  <a:lnTo>
                    <a:pt x="104" y="96"/>
                  </a:lnTo>
                  <a:lnTo>
                    <a:pt x="112" y="88"/>
                  </a:lnTo>
                  <a:lnTo>
                    <a:pt x="104" y="80"/>
                  </a:lnTo>
                  <a:lnTo>
                    <a:pt x="104" y="72"/>
                  </a:lnTo>
                  <a:lnTo>
                    <a:pt x="80" y="56"/>
                  </a:lnTo>
                  <a:lnTo>
                    <a:pt x="72" y="56"/>
                  </a:lnTo>
                  <a:lnTo>
                    <a:pt x="24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4" name="Freeform 309">
              <a:extLst>
                <a:ext uri="{FF2B5EF4-FFF2-40B4-BE49-F238E27FC236}">
                  <a16:creationId xmlns:a16="http://schemas.microsoft.com/office/drawing/2014/main" id="{EB477072-F9EB-4DA0-8A6A-B17017439825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9990319" y="4452665"/>
              <a:ext cx="328397" cy="94760"/>
            </a:xfrm>
            <a:custGeom>
              <a:avLst/>
              <a:gdLst>
                <a:gd name="T0" fmla="*/ 0 w 120"/>
                <a:gd name="T1" fmla="*/ 14605 h 40"/>
                <a:gd name="T2" fmla="*/ 86783 w 120"/>
                <a:gd name="T3" fmla="*/ 43815 h 40"/>
                <a:gd name="T4" fmla="*/ 121497 w 120"/>
                <a:gd name="T5" fmla="*/ 43815 h 40"/>
                <a:gd name="T6" fmla="*/ 208280 w 120"/>
                <a:gd name="T7" fmla="*/ 73025 h 40"/>
                <a:gd name="T8" fmla="*/ 225637 w 120"/>
                <a:gd name="T9" fmla="*/ 58420 h 40"/>
                <a:gd name="T10" fmla="*/ 260350 w 120"/>
                <a:gd name="T11" fmla="*/ 73025 h 40"/>
                <a:gd name="T12" fmla="*/ 260350 w 120"/>
                <a:gd name="T13" fmla="*/ 43815 h 40"/>
                <a:gd name="T14" fmla="*/ 225637 w 120"/>
                <a:gd name="T15" fmla="*/ 43815 h 40"/>
                <a:gd name="T16" fmla="*/ 208280 w 120"/>
                <a:gd name="T17" fmla="*/ 29210 h 40"/>
                <a:gd name="T18" fmla="*/ 156210 w 120"/>
                <a:gd name="T19" fmla="*/ 14605 h 40"/>
                <a:gd name="T20" fmla="*/ 156210 w 120"/>
                <a:gd name="T21" fmla="*/ 29210 h 40"/>
                <a:gd name="T22" fmla="*/ 104140 w 120"/>
                <a:gd name="T23" fmla="*/ 29210 h 40"/>
                <a:gd name="T24" fmla="*/ 69427 w 120"/>
                <a:gd name="T25" fmla="*/ 0 h 40"/>
                <a:gd name="T26" fmla="*/ 34713 w 120"/>
                <a:gd name="T27" fmla="*/ 0 h 40"/>
                <a:gd name="T28" fmla="*/ 0 w 120"/>
                <a:gd name="T29" fmla="*/ 14605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0"/>
                <a:gd name="T46" fmla="*/ 0 h 40"/>
                <a:gd name="T47" fmla="*/ 120 w 120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0" h="40">
                  <a:moveTo>
                    <a:pt x="0" y="8"/>
                  </a:moveTo>
                  <a:lnTo>
                    <a:pt x="40" y="24"/>
                  </a:lnTo>
                  <a:lnTo>
                    <a:pt x="56" y="24"/>
                  </a:lnTo>
                  <a:lnTo>
                    <a:pt x="96" y="40"/>
                  </a:lnTo>
                  <a:lnTo>
                    <a:pt x="104" y="32"/>
                  </a:lnTo>
                  <a:lnTo>
                    <a:pt x="120" y="40"/>
                  </a:lnTo>
                  <a:lnTo>
                    <a:pt x="120" y="24"/>
                  </a:lnTo>
                  <a:lnTo>
                    <a:pt x="104" y="24"/>
                  </a:lnTo>
                  <a:lnTo>
                    <a:pt x="96" y="16"/>
                  </a:lnTo>
                  <a:lnTo>
                    <a:pt x="72" y="8"/>
                  </a:lnTo>
                  <a:lnTo>
                    <a:pt x="72" y="16"/>
                  </a:lnTo>
                  <a:lnTo>
                    <a:pt x="48" y="16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5" name="Freeform 310">
              <a:extLst>
                <a:ext uri="{FF2B5EF4-FFF2-40B4-BE49-F238E27FC236}">
                  <a16:creationId xmlns:a16="http://schemas.microsoft.com/office/drawing/2014/main" id="{5296A88D-6155-4AF5-99AD-B21CA49C9940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10318716" y="4528886"/>
              <a:ext cx="42051" cy="18541"/>
            </a:xfrm>
            <a:custGeom>
              <a:avLst/>
              <a:gdLst>
                <a:gd name="T0" fmla="*/ 0 w 16"/>
                <a:gd name="T1" fmla="*/ 0 h 8"/>
                <a:gd name="T2" fmla="*/ 16669 w 16"/>
                <a:gd name="T3" fmla="*/ 14288 h 8"/>
                <a:gd name="T4" fmla="*/ 33338 w 16"/>
                <a:gd name="T5" fmla="*/ 0 h 8"/>
                <a:gd name="T6" fmla="*/ 0 w 16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8"/>
                <a:gd name="T14" fmla="*/ 16 w 1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6" name="Freeform 311">
              <a:extLst>
                <a:ext uri="{FF2B5EF4-FFF2-40B4-BE49-F238E27FC236}">
                  <a16:creationId xmlns:a16="http://schemas.microsoft.com/office/drawing/2014/main" id="{A2EC8384-E026-4772-A2E0-0BC9BD49B7A1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10382793" y="4528886"/>
              <a:ext cx="284344" cy="37080"/>
            </a:xfrm>
            <a:custGeom>
              <a:avLst/>
              <a:gdLst>
                <a:gd name="T0" fmla="*/ 0 w 104"/>
                <a:gd name="T1" fmla="*/ 28575 h 16"/>
                <a:gd name="T2" fmla="*/ 34681 w 104"/>
                <a:gd name="T3" fmla="*/ 28575 h 16"/>
                <a:gd name="T4" fmla="*/ 104042 w 104"/>
                <a:gd name="T5" fmla="*/ 14288 h 16"/>
                <a:gd name="T6" fmla="*/ 173404 w 104"/>
                <a:gd name="T7" fmla="*/ 28575 h 16"/>
                <a:gd name="T8" fmla="*/ 225425 w 104"/>
                <a:gd name="T9" fmla="*/ 14288 h 16"/>
                <a:gd name="T10" fmla="*/ 190744 w 104"/>
                <a:gd name="T11" fmla="*/ 0 h 16"/>
                <a:gd name="T12" fmla="*/ 173404 w 104"/>
                <a:gd name="T13" fmla="*/ 14288 h 16"/>
                <a:gd name="T14" fmla="*/ 121383 w 104"/>
                <a:gd name="T15" fmla="*/ 0 h 16"/>
                <a:gd name="T16" fmla="*/ 104042 w 104"/>
                <a:gd name="T17" fmla="*/ 14288 h 16"/>
                <a:gd name="T18" fmla="*/ 52021 w 104"/>
                <a:gd name="T19" fmla="*/ 0 h 16"/>
                <a:gd name="T20" fmla="*/ 52021 w 104"/>
                <a:gd name="T21" fmla="*/ 14288 h 16"/>
                <a:gd name="T22" fmla="*/ 17340 w 104"/>
                <a:gd name="T23" fmla="*/ 0 h 16"/>
                <a:gd name="T24" fmla="*/ 0 w 104"/>
                <a:gd name="T25" fmla="*/ 14288 h 16"/>
                <a:gd name="T26" fmla="*/ 0 w 104"/>
                <a:gd name="T27" fmla="*/ 28575 h 1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4"/>
                <a:gd name="T43" fmla="*/ 0 h 16"/>
                <a:gd name="T44" fmla="*/ 104 w 104"/>
                <a:gd name="T45" fmla="*/ 16 h 1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4" h="16">
                  <a:moveTo>
                    <a:pt x="0" y="16"/>
                  </a:moveTo>
                  <a:lnTo>
                    <a:pt x="16" y="16"/>
                  </a:lnTo>
                  <a:lnTo>
                    <a:pt x="48" y="8"/>
                  </a:lnTo>
                  <a:lnTo>
                    <a:pt x="80" y="16"/>
                  </a:lnTo>
                  <a:lnTo>
                    <a:pt x="104" y="8"/>
                  </a:lnTo>
                  <a:lnTo>
                    <a:pt x="88" y="0"/>
                  </a:lnTo>
                  <a:lnTo>
                    <a:pt x="80" y="8"/>
                  </a:lnTo>
                  <a:lnTo>
                    <a:pt x="56" y="0"/>
                  </a:lnTo>
                  <a:lnTo>
                    <a:pt x="48" y="8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7" name="Freeform 312">
              <a:extLst>
                <a:ext uri="{FF2B5EF4-FFF2-40B4-BE49-F238E27FC236}">
                  <a16:creationId xmlns:a16="http://schemas.microsoft.com/office/drawing/2014/main" id="{BA22E9F4-F710-4893-A8EC-EA996A06DEB9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10689164" y="4528886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0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8" name="Freeform 313">
              <a:extLst>
                <a:ext uri="{FF2B5EF4-FFF2-40B4-BE49-F238E27FC236}">
                  <a16:creationId xmlns:a16="http://schemas.microsoft.com/office/drawing/2014/main" id="{E3325102-28B0-4061-8533-1DF7E52C5FCE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10733217" y="4510345"/>
              <a:ext cx="42051" cy="18541"/>
            </a:xfrm>
            <a:custGeom>
              <a:avLst/>
              <a:gdLst>
                <a:gd name="T0" fmla="*/ 0 w 16"/>
                <a:gd name="T1" fmla="*/ 14288 h 8"/>
                <a:gd name="T2" fmla="*/ 16669 w 16"/>
                <a:gd name="T3" fmla="*/ 14288 h 8"/>
                <a:gd name="T4" fmla="*/ 33338 w 16"/>
                <a:gd name="T5" fmla="*/ 0 h 8"/>
                <a:gd name="T6" fmla="*/ 16669 w 16"/>
                <a:gd name="T7" fmla="*/ 0 h 8"/>
                <a:gd name="T8" fmla="*/ 0 w 16"/>
                <a:gd name="T9" fmla="*/ 1428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8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9" name="Freeform 314">
              <a:extLst>
                <a:ext uri="{FF2B5EF4-FFF2-40B4-BE49-F238E27FC236}">
                  <a16:creationId xmlns:a16="http://schemas.microsoft.com/office/drawing/2014/main" id="{E987C815-B6B1-45FA-8D8D-FD78681B6F14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10492927" y="4586566"/>
              <a:ext cx="64077" cy="18541"/>
            </a:xfrm>
            <a:custGeom>
              <a:avLst/>
              <a:gdLst>
                <a:gd name="T0" fmla="*/ 0 w 24"/>
                <a:gd name="T1" fmla="*/ 0 h 8"/>
                <a:gd name="T2" fmla="*/ 33867 w 24"/>
                <a:gd name="T3" fmla="*/ 14288 h 8"/>
                <a:gd name="T4" fmla="*/ 50800 w 24"/>
                <a:gd name="T5" fmla="*/ 14288 h 8"/>
                <a:gd name="T6" fmla="*/ 16933 w 24"/>
                <a:gd name="T7" fmla="*/ 0 h 8"/>
                <a:gd name="T8" fmla="*/ 0 w 2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8"/>
                <a:gd name="T17" fmla="*/ 24 w 2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8">
                  <a:moveTo>
                    <a:pt x="0" y="0"/>
                  </a:moveTo>
                  <a:lnTo>
                    <a:pt x="16" y="8"/>
                  </a:lnTo>
                  <a:lnTo>
                    <a:pt x="24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0" name="Freeform 315">
              <a:extLst>
                <a:ext uri="{FF2B5EF4-FFF2-40B4-BE49-F238E27FC236}">
                  <a16:creationId xmlns:a16="http://schemas.microsoft.com/office/drawing/2014/main" id="{A3FD7D33-742A-479D-8158-D53CCF12C7B9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10929455" y="4489745"/>
              <a:ext cx="20024" cy="39141"/>
            </a:xfrm>
            <a:custGeom>
              <a:avLst/>
              <a:gdLst>
                <a:gd name="T0" fmla="*/ 0 w 8"/>
                <a:gd name="T1" fmla="*/ 30163 h 16"/>
                <a:gd name="T2" fmla="*/ 15875 w 8"/>
                <a:gd name="T3" fmla="*/ 15082 h 16"/>
                <a:gd name="T4" fmla="*/ 15875 w 8"/>
                <a:gd name="T5" fmla="*/ 0 h 16"/>
                <a:gd name="T6" fmla="*/ 0 w 8"/>
                <a:gd name="T7" fmla="*/ 30163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6"/>
                <a:gd name="T14" fmla="*/ 8 w 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6">
                  <a:moveTo>
                    <a:pt x="0" y="16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1" name="Freeform 316">
              <a:extLst>
                <a:ext uri="{FF2B5EF4-FFF2-40B4-BE49-F238E27FC236}">
                  <a16:creationId xmlns:a16="http://schemas.microsoft.com/office/drawing/2014/main" id="{0CE60BD7-00B9-48FC-ACDF-F73D69481CE0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11037585" y="4432065"/>
              <a:ext cx="22027" cy="57680"/>
            </a:xfrm>
            <a:custGeom>
              <a:avLst/>
              <a:gdLst>
                <a:gd name="T0" fmla="*/ 0 w 8"/>
                <a:gd name="T1" fmla="*/ 44450 h 24"/>
                <a:gd name="T2" fmla="*/ 17463 w 8"/>
                <a:gd name="T3" fmla="*/ 14817 h 24"/>
                <a:gd name="T4" fmla="*/ 17463 w 8"/>
                <a:gd name="T5" fmla="*/ 0 h 24"/>
                <a:gd name="T6" fmla="*/ 0 w 8"/>
                <a:gd name="T7" fmla="*/ 4445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24"/>
                <a:gd name="T14" fmla="*/ 8 w 8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24">
                  <a:moveTo>
                    <a:pt x="0" y="24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2" name="Freeform 317">
              <a:extLst>
                <a:ext uri="{FF2B5EF4-FFF2-40B4-BE49-F238E27FC236}">
                  <a16:creationId xmlns:a16="http://schemas.microsoft.com/office/drawing/2014/main" id="{9CA8EFCE-7779-4B01-A57E-3F1326C089A5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9990319" y="4298165"/>
              <a:ext cx="66081" cy="57680"/>
            </a:xfrm>
            <a:custGeom>
              <a:avLst/>
              <a:gdLst>
                <a:gd name="T0" fmla="*/ 0 w 24"/>
                <a:gd name="T1" fmla="*/ 0 h 24"/>
                <a:gd name="T2" fmla="*/ 17463 w 24"/>
                <a:gd name="T3" fmla="*/ 14817 h 24"/>
                <a:gd name="T4" fmla="*/ 17463 w 24"/>
                <a:gd name="T5" fmla="*/ 29633 h 24"/>
                <a:gd name="T6" fmla="*/ 52388 w 24"/>
                <a:gd name="T7" fmla="*/ 44450 h 24"/>
                <a:gd name="T8" fmla="*/ 52388 w 24"/>
                <a:gd name="T9" fmla="*/ 29633 h 24"/>
                <a:gd name="T10" fmla="*/ 34925 w 24"/>
                <a:gd name="T11" fmla="*/ 14817 h 24"/>
                <a:gd name="T12" fmla="*/ 34925 w 24"/>
                <a:gd name="T13" fmla="*/ 0 h 24"/>
                <a:gd name="T14" fmla="*/ 0 w 24"/>
                <a:gd name="T15" fmla="*/ 0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4"/>
                <a:gd name="T26" fmla="*/ 24 w 24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4">
                  <a:moveTo>
                    <a:pt x="0" y="0"/>
                  </a:moveTo>
                  <a:lnTo>
                    <a:pt x="8" y="8"/>
                  </a:lnTo>
                  <a:lnTo>
                    <a:pt x="8" y="16"/>
                  </a:lnTo>
                  <a:lnTo>
                    <a:pt x="24" y="24"/>
                  </a:lnTo>
                  <a:lnTo>
                    <a:pt x="24" y="16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3" name="Freeform 318">
              <a:extLst>
                <a:ext uri="{FF2B5EF4-FFF2-40B4-BE49-F238E27FC236}">
                  <a16:creationId xmlns:a16="http://schemas.microsoft.com/office/drawing/2014/main" id="{8BFEEA8E-D8A4-4875-8717-44B482243CB0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10078425" y="4337305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17463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4" name="Line 319">
              <a:extLst>
                <a:ext uri="{FF2B5EF4-FFF2-40B4-BE49-F238E27FC236}">
                  <a16:creationId xmlns:a16="http://schemas.microsoft.com/office/drawing/2014/main" id="{DADA01FB-8665-4B38-9B75-8456DC01952E}"/>
                </a:ext>
              </a:extLst>
            </p:cNvPr>
            <p:cNvSpPr>
              <a:spLocks noChangeShapeType="1"/>
            </p:cNvSpPr>
            <p:nvPr>
              <p:custDataLst>
                <p:tags r:id="rId276"/>
              </p:custDataLst>
            </p:nvPr>
          </p:nvSpPr>
          <p:spPr bwMode="auto">
            <a:xfrm>
              <a:off x="6151680" y="2135158"/>
              <a:ext cx="4005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5" name="Line 320">
              <a:extLst>
                <a:ext uri="{FF2B5EF4-FFF2-40B4-BE49-F238E27FC236}">
                  <a16:creationId xmlns:a16="http://schemas.microsoft.com/office/drawing/2014/main" id="{6F33D80E-0F9A-4C1F-85D7-68C9E8D5DBAF}"/>
                </a:ext>
              </a:extLst>
            </p:cNvPr>
            <p:cNvSpPr>
              <a:spLocks noChangeShapeType="1"/>
            </p:cNvSpPr>
            <p:nvPr>
              <p:custDataLst>
                <p:tags r:id="rId277"/>
              </p:custDataLst>
            </p:nvPr>
          </p:nvSpPr>
          <p:spPr bwMode="auto">
            <a:xfrm>
              <a:off x="10274662" y="4510345"/>
              <a:ext cx="44053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6" name="Freeform 321">
              <a:extLst>
                <a:ext uri="{FF2B5EF4-FFF2-40B4-BE49-F238E27FC236}">
                  <a16:creationId xmlns:a16="http://schemas.microsoft.com/office/drawing/2014/main" id="{575E457C-4EBC-4AC4-AFD9-8ECB4C790B12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10492927" y="4184864"/>
              <a:ext cx="240290" cy="267801"/>
            </a:xfrm>
            <a:custGeom>
              <a:avLst/>
              <a:gdLst>
                <a:gd name="T0" fmla="*/ 0 w 88"/>
                <a:gd name="T1" fmla="*/ 117929 h 112"/>
                <a:gd name="T2" fmla="*/ 0 w 88"/>
                <a:gd name="T3" fmla="*/ 132670 h 112"/>
                <a:gd name="T4" fmla="*/ 17318 w 88"/>
                <a:gd name="T5" fmla="*/ 132670 h 112"/>
                <a:gd name="T6" fmla="*/ 17318 w 88"/>
                <a:gd name="T7" fmla="*/ 147411 h 112"/>
                <a:gd name="T8" fmla="*/ 17318 w 88"/>
                <a:gd name="T9" fmla="*/ 191634 h 112"/>
                <a:gd name="T10" fmla="*/ 34636 w 88"/>
                <a:gd name="T11" fmla="*/ 191634 h 112"/>
                <a:gd name="T12" fmla="*/ 34636 w 88"/>
                <a:gd name="T13" fmla="*/ 132670 h 112"/>
                <a:gd name="T14" fmla="*/ 51955 w 88"/>
                <a:gd name="T15" fmla="*/ 117929 h 112"/>
                <a:gd name="T16" fmla="*/ 69273 w 88"/>
                <a:gd name="T17" fmla="*/ 117929 h 112"/>
                <a:gd name="T18" fmla="*/ 51955 w 88"/>
                <a:gd name="T19" fmla="*/ 132670 h 112"/>
                <a:gd name="T20" fmla="*/ 86591 w 88"/>
                <a:gd name="T21" fmla="*/ 162152 h 112"/>
                <a:gd name="T22" fmla="*/ 86591 w 88"/>
                <a:gd name="T23" fmla="*/ 176893 h 112"/>
                <a:gd name="T24" fmla="*/ 103909 w 88"/>
                <a:gd name="T25" fmla="*/ 176893 h 112"/>
                <a:gd name="T26" fmla="*/ 103909 w 88"/>
                <a:gd name="T27" fmla="*/ 191634 h 112"/>
                <a:gd name="T28" fmla="*/ 103909 w 88"/>
                <a:gd name="T29" fmla="*/ 206375 h 112"/>
                <a:gd name="T30" fmla="*/ 121227 w 88"/>
                <a:gd name="T31" fmla="*/ 191634 h 112"/>
                <a:gd name="T32" fmla="*/ 121227 w 88"/>
                <a:gd name="T33" fmla="*/ 176893 h 112"/>
                <a:gd name="T34" fmla="*/ 86591 w 88"/>
                <a:gd name="T35" fmla="*/ 132670 h 112"/>
                <a:gd name="T36" fmla="*/ 103909 w 88"/>
                <a:gd name="T37" fmla="*/ 132670 h 112"/>
                <a:gd name="T38" fmla="*/ 86591 w 88"/>
                <a:gd name="T39" fmla="*/ 88446 h 112"/>
                <a:gd name="T40" fmla="*/ 121227 w 88"/>
                <a:gd name="T41" fmla="*/ 73705 h 112"/>
                <a:gd name="T42" fmla="*/ 138545 w 88"/>
                <a:gd name="T43" fmla="*/ 73705 h 112"/>
                <a:gd name="T44" fmla="*/ 121227 w 88"/>
                <a:gd name="T45" fmla="*/ 58964 h 112"/>
                <a:gd name="T46" fmla="*/ 51955 w 88"/>
                <a:gd name="T47" fmla="*/ 73705 h 112"/>
                <a:gd name="T48" fmla="*/ 34636 w 88"/>
                <a:gd name="T49" fmla="*/ 58964 h 112"/>
                <a:gd name="T50" fmla="*/ 34636 w 88"/>
                <a:gd name="T51" fmla="*/ 44223 h 112"/>
                <a:gd name="T52" fmla="*/ 51955 w 88"/>
                <a:gd name="T53" fmla="*/ 29482 h 112"/>
                <a:gd name="T54" fmla="*/ 138545 w 88"/>
                <a:gd name="T55" fmla="*/ 29482 h 112"/>
                <a:gd name="T56" fmla="*/ 173182 w 88"/>
                <a:gd name="T57" fmla="*/ 29482 h 112"/>
                <a:gd name="T58" fmla="*/ 190500 w 88"/>
                <a:gd name="T59" fmla="*/ 0 h 112"/>
                <a:gd name="T60" fmla="*/ 173182 w 88"/>
                <a:gd name="T61" fmla="*/ 0 h 112"/>
                <a:gd name="T62" fmla="*/ 155864 w 88"/>
                <a:gd name="T63" fmla="*/ 14741 h 112"/>
                <a:gd name="T64" fmla="*/ 121227 w 88"/>
                <a:gd name="T65" fmla="*/ 14741 h 112"/>
                <a:gd name="T66" fmla="*/ 69273 w 88"/>
                <a:gd name="T67" fmla="*/ 0 h 112"/>
                <a:gd name="T68" fmla="*/ 51955 w 88"/>
                <a:gd name="T69" fmla="*/ 14741 h 112"/>
                <a:gd name="T70" fmla="*/ 34636 w 88"/>
                <a:gd name="T71" fmla="*/ 14741 h 112"/>
                <a:gd name="T72" fmla="*/ 34636 w 88"/>
                <a:gd name="T73" fmla="*/ 58964 h 112"/>
                <a:gd name="T74" fmla="*/ 0 w 88"/>
                <a:gd name="T75" fmla="*/ 117929 h 1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8"/>
                <a:gd name="T115" fmla="*/ 0 h 112"/>
                <a:gd name="T116" fmla="*/ 88 w 88"/>
                <a:gd name="T117" fmla="*/ 112 h 1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8" h="112">
                  <a:moveTo>
                    <a:pt x="0" y="64"/>
                  </a:moveTo>
                  <a:lnTo>
                    <a:pt x="0" y="72"/>
                  </a:lnTo>
                  <a:lnTo>
                    <a:pt x="8" y="72"/>
                  </a:lnTo>
                  <a:lnTo>
                    <a:pt x="8" y="80"/>
                  </a:lnTo>
                  <a:lnTo>
                    <a:pt x="8" y="104"/>
                  </a:lnTo>
                  <a:lnTo>
                    <a:pt x="16" y="104"/>
                  </a:lnTo>
                  <a:lnTo>
                    <a:pt x="16" y="72"/>
                  </a:lnTo>
                  <a:lnTo>
                    <a:pt x="24" y="64"/>
                  </a:lnTo>
                  <a:lnTo>
                    <a:pt x="32" y="64"/>
                  </a:lnTo>
                  <a:lnTo>
                    <a:pt x="24" y="72"/>
                  </a:lnTo>
                  <a:lnTo>
                    <a:pt x="40" y="88"/>
                  </a:lnTo>
                  <a:lnTo>
                    <a:pt x="40" y="96"/>
                  </a:lnTo>
                  <a:lnTo>
                    <a:pt x="48" y="96"/>
                  </a:lnTo>
                  <a:lnTo>
                    <a:pt x="48" y="104"/>
                  </a:lnTo>
                  <a:lnTo>
                    <a:pt x="48" y="112"/>
                  </a:lnTo>
                  <a:lnTo>
                    <a:pt x="56" y="104"/>
                  </a:lnTo>
                  <a:lnTo>
                    <a:pt x="56" y="96"/>
                  </a:lnTo>
                  <a:lnTo>
                    <a:pt x="40" y="72"/>
                  </a:lnTo>
                  <a:lnTo>
                    <a:pt x="48" y="72"/>
                  </a:lnTo>
                  <a:lnTo>
                    <a:pt x="40" y="48"/>
                  </a:lnTo>
                  <a:lnTo>
                    <a:pt x="56" y="40"/>
                  </a:lnTo>
                  <a:lnTo>
                    <a:pt x="64" y="40"/>
                  </a:lnTo>
                  <a:lnTo>
                    <a:pt x="56" y="32"/>
                  </a:lnTo>
                  <a:lnTo>
                    <a:pt x="24" y="40"/>
                  </a:lnTo>
                  <a:lnTo>
                    <a:pt x="16" y="32"/>
                  </a:lnTo>
                  <a:lnTo>
                    <a:pt x="16" y="24"/>
                  </a:lnTo>
                  <a:lnTo>
                    <a:pt x="24" y="16"/>
                  </a:lnTo>
                  <a:lnTo>
                    <a:pt x="64" y="16"/>
                  </a:lnTo>
                  <a:lnTo>
                    <a:pt x="80" y="16"/>
                  </a:lnTo>
                  <a:lnTo>
                    <a:pt x="88" y="0"/>
                  </a:lnTo>
                  <a:lnTo>
                    <a:pt x="80" y="0"/>
                  </a:lnTo>
                  <a:lnTo>
                    <a:pt x="72" y="8"/>
                  </a:lnTo>
                  <a:lnTo>
                    <a:pt x="56" y="8"/>
                  </a:lnTo>
                  <a:lnTo>
                    <a:pt x="32" y="0"/>
                  </a:lnTo>
                  <a:lnTo>
                    <a:pt x="24" y="8"/>
                  </a:lnTo>
                  <a:lnTo>
                    <a:pt x="16" y="8"/>
                  </a:lnTo>
                  <a:lnTo>
                    <a:pt x="16" y="32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7" name="Freeform 322">
              <a:extLst>
                <a:ext uri="{FF2B5EF4-FFF2-40B4-BE49-F238E27FC236}">
                  <a16:creationId xmlns:a16="http://schemas.microsoft.com/office/drawing/2014/main" id="{598312C6-2C94-4673-96CF-8FF4602EFD24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10797295" y="4164264"/>
              <a:ext cx="66081" cy="115360"/>
            </a:xfrm>
            <a:custGeom>
              <a:avLst/>
              <a:gdLst>
                <a:gd name="T0" fmla="*/ 0 w 24"/>
                <a:gd name="T1" fmla="*/ 29633 h 48"/>
                <a:gd name="T2" fmla="*/ 17463 w 24"/>
                <a:gd name="T3" fmla="*/ 59267 h 48"/>
                <a:gd name="T4" fmla="*/ 34925 w 24"/>
                <a:gd name="T5" fmla="*/ 88900 h 48"/>
                <a:gd name="T6" fmla="*/ 17463 w 24"/>
                <a:gd name="T7" fmla="*/ 59267 h 48"/>
                <a:gd name="T8" fmla="*/ 17463 w 24"/>
                <a:gd name="T9" fmla="*/ 44450 h 48"/>
                <a:gd name="T10" fmla="*/ 34925 w 24"/>
                <a:gd name="T11" fmla="*/ 44450 h 48"/>
                <a:gd name="T12" fmla="*/ 34925 w 24"/>
                <a:gd name="T13" fmla="*/ 29633 h 48"/>
                <a:gd name="T14" fmla="*/ 52388 w 24"/>
                <a:gd name="T15" fmla="*/ 29633 h 48"/>
                <a:gd name="T16" fmla="*/ 52388 w 24"/>
                <a:gd name="T17" fmla="*/ 14817 h 48"/>
                <a:gd name="T18" fmla="*/ 34925 w 24"/>
                <a:gd name="T19" fmla="*/ 14817 h 48"/>
                <a:gd name="T20" fmla="*/ 17463 w 24"/>
                <a:gd name="T21" fmla="*/ 0 h 48"/>
                <a:gd name="T22" fmla="*/ 0 w 24"/>
                <a:gd name="T23" fmla="*/ 29633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4"/>
                <a:gd name="T37" fmla="*/ 0 h 48"/>
                <a:gd name="T38" fmla="*/ 24 w 24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4" h="48">
                  <a:moveTo>
                    <a:pt x="0" y="16"/>
                  </a:moveTo>
                  <a:lnTo>
                    <a:pt x="8" y="32"/>
                  </a:lnTo>
                  <a:lnTo>
                    <a:pt x="16" y="48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8" name="Freeform 323">
              <a:extLst>
                <a:ext uri="{FF2B5EF4-FFF2-40B4-BE49-F238E27FC236}">
                  <a16:creationId xmlns:a16="http://schemas.microsoft.com/office/drawing/2014/main" id="{23F62973-A5CC-4A07-AB6C-521E428C9F9B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10753242" y="4355845"/>
              <a:ext cx="44053" cy="20600"/>
            </a:xfrm>
            <a:custGeom>
              <a:avLst/>
              <a:gdLst>
                <a:gd name="T0" fmla="*/ 0 w 16"/>
                <a:gd name="T1" fmla="*/ 0 h 8"/>
                <a:gd name="T2" fmla="*/ 17463 w 16"/>
                <a:gd name="T3" fmla="*/ 15875 h 8"/>
                <a:gd name="T4" fmla="*/ 34925 w 16"/>
                <a:gd name="T5" fmla="*/ 15875 h 8"/>
                <a:gd name="T6" fmla="*/ 34925 w 16"/>
                <a:gd name="T7" fmla="*/ 0 h 8"/>
                <a:gd name="T8" fmla="*/ 0 w 1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9" name="Freeform 324">
              <a:extLst>
                <a:ext uri="{FF2B5EF4-FFF2-40B4-BE49-F238E27FC236}">
                  <a16:creationId xmlns:a16="http://schemas.microsoft.com/office/drawing/2014/main" id="{85452D82-683E-4F64-B55C-693270FAF8CE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10819321" y="4337305"/>
              <a:ext cx="110134" cy="39141"/>
            </a:xfrm>
            <a:custGeom>
              <a:avLst/>
              <a:gdLst>
                <a:gd name="T0" fmla="*/ 0 w 40"/>
                <a:gd name="T1" fmla="*/ 15082 h 16"/>
                <a:gd name="T2" fmla="*/ 87313 w 40"/>
                <a:gd name="T3" fmla="*/ 30163 h 16"/>
                <a:gd name="T4" fmla="*/ 69850 w 40"/>
                <a:gd name="T5" fmla="*/ 15082 h 16"/>
                <a:gd name="T6" fmla="*/ 52388 w 40"/>
                <a:gd name="T7" fmla="*/ 0 h 16"/>
                <a:gd name="T8" fmla="*/ 17463 w 40"/>
                <a:gd name="T9" fmla="*/ 0 h 16"/>
                <a:gd name="T10" fmla="*/ 0 w 40"/>
                <a:gd name="T11" fmla="*/ 1508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16"/>
                <a:gd name="T20" fmla="*/ 40 w 40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16">
                  <a:moveTo>
                    <a:pt x="0" y="8"/>
                  </a:moveTo>
                  <a:lnTo>
                    <a:pt x="40" y="16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0" name="Freeform 325">
              <a:extLst>
                <a:ext uri="{FF2B5EF4-FFF2-40B4-BE49-F238E27FC236}">
                  <a16:creationId xmlns:a16="http://schemas.microsoft.com/office/drawing/2014/main" id="{6B05AD8E-7590-4876-85DB-CC6F9C1CC2FD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10797295" y="4279625"/>
              <a:ext cx="44053" cy="18541"/>
            </a:xfrm>
            <a:custGeom>
              <a:avLst/>
              <a:gdLst>
                <a:gd name="T0" fmla="*/ 0 w 16"/>
                <a:gd name="T1" fmla="*/ 14288 h 8"/>
                <a:gd name="T2" fmla="*/ 34925 w 16"/>
                <a:gd name="T3" fmla="*/ 14288 h 8"/>
                <a:gd name="T4" fmla="*/ 17463 w 16"/>
                <a:gd name="T5" fmla="*/ 0 h 8"/>
                <a:gd name="T6" fmla="*/ 0 w 16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8"/>
                <a:gd name="T14" fmla="*/ 16 w 1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8">
                  <a:moveTo>
                    <a:pt x="0" y="8"/>
                  </a:move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1" name="Freeform 326">
              <a:extLst>
                <a:ext uri="{FF2B5EF4-FFF2-40B4-BE49-F238E27FC236}">
                  <a16:creationId xmlns:a16="http://schemas.microsoft.com/office/drawing/2014/main" id="{0468CB72-B6D1-45C3-8E00-95F8F57E9BB9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10907427" y="4240485"/>
              <a:ext cx="42051" cy="20600"/>
            </a:xfrm>
            <a:custGeom>
              <a:avLst/>
              <a:gdLst>
                <a:gd name="T0" fmla="*/ 0 w 16"/>
                <a:gd name="T1" fmla="*/ 0 h 8"/>
                <a:gd name="T2" fmla="*/ 16669 w 16"/>
                <a:gd name="T3" fmla="*/ 15875 h 8"/>
                <a:gd name="T4" fmla="*/ 33338 w 16"/>
                <a:gd name="T5" fmla="*/ 0 h 8"/>
                <a:gd name="T6" fmla="*/ 16669 w 16"/>
                <a:gd name="T7" fmla="*/ 0 h 8"/>
                <a:gd name="T8" fmla="*/ 0 w 1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2" name="Freeform 327">
              <a:extLst>
                <a:ext uri="{FF2B5EF4-FFF2-40B4-BE49-F238E27FC236}">
                  <a16:creationId xmlns:a16="http://schemas.microsoft.com/office/drawing/2014/main" id="{7DEC1C35-EB4A-47CE-8C39-0072844C33BC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11103664" y="4261085"/>
              <a:ext cx="22027" cy="18541"/>
            </a:xfrm>
            <a:custGeom>
              <a:avLst/>
              <a:gdLst>
                <a:gd name="T0" fmla="*/ 0 w 8"/>
                <a:gd name="T1" fmla="*/ 0 h 8"/>
                <a:gd name="T2" fmla="*/ 17463 w 8"/>
                <a:gd name="T3" fmla="*/ 14288 h 8"/>
                <a:gd name="T4" fmla="*/ 17463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3" name="Freeform 328">
              <a:extLst>
                <a:ext uri="{FF2B5EF4-FFF2-40B4-BE49-F238E27FC236}">
                  <a16:creationId xmlns:a16="http://schemas.microsoft.com/office/drawing/2014/main" id="{54DF6D42-90D8-4CBE-A789-F8D700005BC9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10492927" y="3570982"/>
              <a:ext cx="174211" cy="191581"/>
            </a:xfrm>
            <a:custGeom>
              <a:avLst/>
              <a:gdLst>
                <a:gd name="T0" fmla="*/ 0 w 64"/>
                <a:gd name="T1" fmla="*/ 59055 h 80"/>
                <a:gd name="T2" fmla="*/ 0 w 64"/>
                <a:gd name="T3" fmla="*/ 103347 h 80"/>
                <a:gd name="T4" fmla="*/ 34528 w 64"/>
                <a:gd name="T5" fmla="*/ 103347 h 80"/>
                <a:gd name="T6" fmla="*/ 34528 w 64"/>
                <a:gd name="T7" fmla="*/ 132874 h 80"/>
                <a:gd name="T8" fmla="*/ 51792 w 64"/>
                <a:gd name="T9" fmla="*/ 132874 h 80"/>
                <a:gd name="T10" fmla="*/ 86321 w 64"/>
                <a:gd name="T11" fmla="*/ 147638 h 80"/>
                <a:gd name="T12" fmla="*/ 86321 w 64"/>
                <a:gd name="T13" fmla="*/ 132874 h 80"/>
                <a:gd name="T14" fmla="*/ 103585 w 64"/>
                <a:gd name="T15" fmla="*/ 147638 h 80"/>
                <a:gd name="T16" fmla="*/ 138113 w 64"/>
                <a:gd name="T17" fmla="*/ 147638 h 80"/>
                <a:gd name="T18" fmla="*/ 120849 w 64"/>
                <a:gd name="T19" fmla="*/ 132874 h 80"/>
                <a:gd name="T20" fmla="*/ 86321 w 64"/>
                <a:gd name="T21" fmla="*/ 118110 h 80"/>
                <a:gd name="T22" fmla="*/ 69057 w 64"/>
                <a:gd name="T23" fmla="*/ 132874 h 80"/>
                <a:gd name="T24" fmla="*/ 69057 w 64"/>
                <a:gd name="T25" fmla="*/ 118110 h 80"/>
                <a:gd name="T26" fmla="*/ 51792 w 64"/>
                <a:gd name="T27" fmla="*/ 88583 h 80"/>
                <a:gd name="T28" fmla="*/ 69057 w 64"/>
                <a:gd name="T29" fmla="*/ 44291 h 80"/>
                <a:gd name="T30" fmla="*/ 51792 w 64"/>
                <a:gd name="T31" fmla="*/ 29528 h 80"/>
                <a:gd name="T32" fmla="*/ 51792 w 64"/>
                <a:gd name="T33" fmla="*/ 0 h 80"/>
                <a:gd name="T34" fmla="*/ 0 w 64"/>
                <a:gd name="T35" fmla="*/ 0 h 80"/>
                <a:gd name="T36" fmla="*/ 17264 w 64"/>
                <a:gd name="T37" fmla="*/ 59055 h 80"/>
                <a:gd name="T38" fmla="*/ 0 w 64"/>
                <a:gd name="T39" fmla="*/ 59055 h 8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4"/>
                <a:gd name="T61" fmla="*/ 0 h 80"/>
                <a:gd name="T62" fmla="*/ 64 w 64"/>
                <a:gd name="T63" fmla="*/ 80 h 8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4" h="80">
                  <a:moveTo>
                    <a:pt x="0" y="32"/>
                  </a:moveTo>
                  <a:lnTo>
                    <a:pt x="0" y="56"/>
                  </a:lnTo>
                  <a:lnTo>
                    <a:pt x="16" y="56"/>
                  </a:lnTo>
                  <a:lnTo>
                    <a:pt x="16" y="72"/>
                  </a:lnTo>
                  <a:lnTo>
                    <a:pt x="24" y="72"/>
                  </a:lnTo>
                  <a:lnTo>
                    <a:pt x="40" y="80"/>
                  </a:lnTo>
                  <a:lnTo>
                    <a:pt x="40" y="72"/>
                  </a:lnTo>
                  <a:lnTo>
                    <a:pt x="48" y="80"/>
                  </a:lnTo>
                  <a:lnTo>
                    <a:pt x="64" y="80"/>
                  </a:lnTo>
                  <a:lnTo>
                    <a:pt x="56" y="72"/>
                  </a:lnTo>
                  <a:lnTo>
                    <a:pt x="40" y="64"/>
                  </a:lnTo>
                  <a:lnTo>
                    <a:pt x="32" y="72"/>
                  </a:lnTo>
                  <a:lnTo>
                    <a:pt x="32" y="64"/>
                  </a:lnTo>
                  <a:lnTo>
                    <a:pt x="24" y="48"/>
                  </a:lnTo>
                  <a:lnTo>
                    <a:pt x="32" y="24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8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4" name="Freeform 329">
              <a:extLst>
                <a:ext uri="{FF2B5EF4-FFF2-40B4-BE49-F238E27FC236}">
                  <a16:creationId xmlns:a16="http://schemas.microsoft.com/office/drawing/2014/main" id="{1805F65C-4342-4FD4-993E-A580F1EF49C5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10426846" y="3838783"/>
              <a:ext cx="88106" cy="96821"/>
            </a:xfrm>
            <a:custGeom>
              <a:avLst/>
              <a:gdLst>
                <a:gd name="T0" fmla="*/ 0 w 32"/>
                <a:gd name="T1" fmla="*/ 74613 h 40"/>
                <a:gd name="T2" fmla="*/ 69850 w 32"/>
                <a:gd name="T3" fmla="*/ 14923 h 40"/>
                <a:gd name="T4" fmla="*/ 52387 w 32"/>
                <a:gd name="T5" fmla="*/ 0 h 40"/>
                <a:gd name="T6" fmla="*/ 52387 w 32"/>
                <a:gd name="T7" fmla="*/ 14923 h 40"/>
                <a:gd name="T8" fmla="*/ 0 w 32"/>
                <a:gd name="T9" fmla="*/ 74613 h 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"/>
                <a:gd name="T16" fmla="*/ 0 h 40"/>
                <a:gd name="T17" fmla="*/ 32 w 32"/>
                <a:gd name="T18" fmla="*/ 40 h 4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" h="40">
                  <a:moveTo>
                    <a:pt x="0" y="40"/>
                  </a:moveTo>
                  <a:lnTo>
                    <a:pt x="32" y="8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5" name="Freeform 330">
              <a:extLst>
                <a:ext uri="{FF2B5EF4-FFF2-40B4-BE49-F238E27FC236}">
                  <a16:creationId xmlns:a16="http://schemas.microsoft.com/office/drawing/2014/main" id="{CF87A6E7-BE75-455D-BE6B-C1F42C15E551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10514953" y="3744023"/>
              <a:ext cx="42051" cy="57680"/>
            </a:xfrm>
            <a:custGeom>
              <a:avLst/>
              <a:gdLst>
                <a:gd name="T0" fmla="*/ 0 w 16"/>
                <a:gd name="T1" fmla="*/ 0 h 24"/>
                <a:gd name="T2" fmla="*/ 33338 w 16"/>
                <a:gd name="T3" fmla="*/ 44450 h 24"/>
                <a:gd name="T4" fmla="*/ 33338 w 16"/>
                <a:gd name="T5" fmla="*/ 29633 h 24"/>
                <a:gd name="T6" fmla="*/ 33338 w 16"/>
                <a:gd name="T7" fmla="*/ 14817 h 24"/>
                <a:gd name="T8" fmla="*/ 0 w 1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24"/>
                <a:gd name="T17" fmla="*/ 16 w 1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24">
                  <a:moveTo>
                    <a:pt x="0" y="0"/>
                  </a:moveTo>
                  <a:lnTo>
                    <a:pt x="16" y="24"/>
                  </a:lnTo>
                  <a:lnTo>
                    <a:pt x="16" y="16"/>
                  </a:lnTo>
                  <a:lnTo>
                    <a:pt x="16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6" name="Freeform 331">
              <a:extLst>
                <a:ext uri="{FF2B5EF4-FFF2-40B4-BE49-F238E27FC236}">
                  <a16:creationId xmlns:a16="http://schemas.microsoft.com/office/drawing/2014/main" id="{F6C43D3D-8627-4BB7-81C2-86ECA3767B2A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10667137" y="3781103"/>
              <a:ext cx="44053" cy="96821"/>
            </a:xfrm>
            <a:custGeom>
              <a:avLst/>
              <a:gdLst>
                <a:gd name="T0" fmla="*/ 0 w 16"/>
                <a:gd name="T1" fmla="*/ 0 h 40"/>
                <a:gd name="T2" fmla="*/ 17463 w 16"/>
                <a:gd name="T3" fmla="*/ 29845 h 40"/>
                <a:gd name="T4" fmla="*/ 0 w 16"/>
                <a:gd name="T5" fmla="*/ 29845 h 40"/>
                <a:gd name="T6" fmla="*/ 0 w 16"/>
                <a:gd name="T7" fmla="*/ 44768 h 40"/>
                <a:gd name="T8" fmla="*/ 17463 w 16"/>
                <a:gd name="T9" fmla="*/ 44768 h 40"/>
                <a:gd name="T10" fmla="*/ 17463 w 16"/>
                <a:gd name="T11" fmla="*/ 74613 h 40"/>
                <a:gd name="T12" fmla="*/ 34925 w 16"/>
                <a:gd name="T13" fmla="*/ 59690 h 40"/>
                <a:gd name="T14" fmla="*/ 17463 w 16"/>
                <a:gd name="T15" fmla="*/ 44768 h 40"/>
                <a:gd name="T16" fmla="*/ 34925 w 16"/>
                <a:gd name="T17" fmla="*/ 44768 h 40"/>
                <a:gd name="T18" fmla="*/ 34925 w 16"/>
                <a:gd name="T19" fmla="*/ 14923 h 40"/>
                <a:gd name="T20" fmla="*/ 34925 w 16"/>
                <a:gd name="T21" fmla="*/ 0 h 40"/>
                <a:gd name="T22" fmla="*/ 0 w 16"/>
                <a:gd name="T23" fmla="*/ 0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6"/>
                <a:gd name="T37" fmla="*/ 0 h 40"/>
                <a:gd name="T38" fmla="*/ 16 w 16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6" h="40">
                  <a:moveTo>
                    <a:pt x="0" y="0"/>
                  </a:moveTo>
                  <a:lnTo>
                    <a:pt x="8" y="16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8" y="40"/>
                  </a:lnTo>
                  <a:lnTo>
                    <a:pt x="16" y="32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7" name="Freeform 332">
              <a:extLst>
                <a:ext uri="{FF2B5EF4-FFF2-40B4-BE49-F238E27FC236}">
                  <a16:creationId xmlns:a16="http://schemas.microsoft.com/office/drawing/2014/main" id="{F4EB0CEC-B555-47DC-BB70-589EDD1EEE86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10579030" y="3801703"/>
              <a:ext cx="110134" cy="113301"/>
            </a:xfrm>
            <a:custGeom>
              <a:avLst/>
              <a:gdLst>
                <a:gd name="T0" fmla="*/ 0 w 40"/>
                <a:gd name="T1" fmla="*/ 43657 h 48"/>
                <a:gd name="T2" fmla="*/ 34925 w 40"/>
                <a:gd name="T3" fmla="*/ 43657 h 48"/>
                <a:gd name="T4" fmla="*/ 34925 w 40"/>
                <a:gd name="T5" fmla="*/ 58209 h 48"/>
                <a:gd name="T6" fmla="*/ 17463 w 40"/>
                <a:gd name="T7" fmla="*/ 58209 h 48"/>
                <a:gd name="T8" fmla="*/ 34925 w 40"/>
                <a:gd name="T9" fmla="*/ 87313 h 48"/>
                <a:gd name="T10" fmla="*/ 52388 w 40"/>
                <a:gd name="T11" fmla="*/ 72761 h 48"/>
                <a:gd name="T12" fmla="*/ 52388 w 40"/>
                <a:gd name="T13" fmla="*/ 58209 h 48"/>
                <a:gd name="T14" fmla="*/ 52388 w 40"/>
                <a:gd name="T15" fmla="*/ 72761 h 48"/>
                <a:gd name="T16" fmla="*/ 69850 w 40"/>
                <a:gd name="T17" fmla="*/ 58209 h 48"/>
                <a:gd name="T18" fmla="*/ 69850 w 40"/>
                <a:gd name="T19" fmla="*/ 72761 h 48"/>
                <a:gd name="T20" fmla="*/ 87313 w 40"/>
                <a:gd name="T21" fmla="*/ 72761 h 48"/>
                <a:gd name="T22" fmla="*/ 87313 w 40"/>
                <a:gd name="T23" fmla="*/ 58209 h 48"/>
                <a:gd name="T24" fmla="*/ 69850 w 40"/>
                <a:gd name="T25" fmla="*/ 58209 h 48"/>
                <a:gd name="T26" fmla="*/ 69850 w 40"/>
                <a:gd name="T27" fmla="*/ 29104 h 48"/>
                <a:gd name="T28" fmla="*/ 52388 w 40"/>
                <a:gd name="T29" fmla="*/ 43657 h 48"/>
                <a:gd name="T30" fmla="*/ 34925 w 40"/>
                <a:gd name="T31" fmla="*/ 14552 h 48"/>
                <a:gd name="T32" fmla="*/ 17463 w 40"/>
                <a:gd name="T33" fmla="*/ 14552 h 48"/>
                <a:gd name="T34" fmla="*/ 0 w 40"/>
                <a:gd name="T35" fmla="*/ 0 h 48"/>
                <a:gd name="T36" fmla="*/ 0 w 40"/>
                <a:gd name="T37" fmla="*/ 43657 h 4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48"/>
                <a:gd name="T59" fmla="*/ 40 w 40"/>
                <a:gd name="T60" fmla="*/ 48 h 4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48">
                  <a:moveTo>
                    <a:pt x="0" y="24"/>
                  </a:moveTo>
                  <a:lnTo>
                    <a:pt x="16" y="24"/>
                  </a:lnTo>
                  <a:lnTo>
                    <a:pt x="16" y="32"/>
                  </a:lnTo>
                  <a:lnTo>
                    <a:pt x="8" y="32"/>
                  </a:lnTo>
                  <a:lnTo>
                    <a:pt x="16" y="48"/>
                  </a:lnTo>
                  <a:lnTo>
                    <a:pt x="24" y="40"/>
                  </a:lnTo>
                  <a:lnTo>
                    <a:pt x="24" y="32"/>
                  </a:lnTo>
                  <a:lnTo>
                    <a:pt x="24" y="40"/>
                  </a:lnTo>
                  <a:lnTo>
                    <a:pt x="32" y="32"/>
                  </a:lnTo>
                  <a:lnTo>
                    <a:pt x="32" y="40"/>
                  </a:lnTo>
                  <a:lnTo>
                    <a:pt x="40" y="40"/>
                  </a:lnTo>
                  <a:lnTo>
                    <a:pt x="40" y="32"/>
                  </a:lnTo>
                  <a:lnTo>
                    <a:pt x="32" y="32"/>
                  </a:lnTo>
                  <a:lnTo>
                    <a:pt x="32" y="16"/>
                  </a:lnTo>
                  <a:lnTo>
                    <a:pt x="24" y="24"/>
                  </a:lnTo>
                  <a:lnTo>
                    <a:pt x="16" y="8"/>
                  </a:lnTo>
                  <a:lnTo>
                    <a:pt x="8" y="8"/>
                  </a:lnTo>
                  <a:lnTo>
                    <a:pt x="0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8" name="Freeform 333">
              <a:extLst>
                <a:ext uri="{FF2B5EF4-FFF2-40B4-BE49-F238E27FC236}">
                  <a16:creationId xmlns:a16="http://schemas.microsoft.com/office/drawing/2014/main" id="{47A67667-850F-47E8-A1F5-C40746DC267F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10601058" y="3877924"/>
              <a:ext cx="174211" cy="152441"/>
            </a:xfrm>
            <a:custGeom>
              <a:avLst/>
              <a:gdLst>
                <a:gd name="T0" fmla="*/ 0 w 64"/>
                <a:gd name="T1" fmla="*/ 73422 h 64"/>
                <a:gd name="T2" fmla="*/ 0 w 64"/>
                <a:gd name="T3" fmla="*/ 88106 h 64"/>
                <a:gd name="T4" fmla="*/ 17264 w 64"/>
                <a:gd name="T5" fmla="*/ 58738 h 64"/>
                <a:gd name="T6" fmla="*/ 17264 w 64"/>
                <a:gd name="T7" fmla="*/ 73422 h 64"/>
                <a:gd name="T8" fmla="*/ 51792 w 64"/>
                <a:gd name="T9" fmla="*/ 58738 h 64"/>
                <a:gd name="T10" fmla="*/ 69057 w 64"/>
                <a:gd name="T11" fmla="*/ 73422 h 64"/>
                <a:gd name="T12" fmla="*/ 51792 w 64"/>
                <a:gd name="T13" fmla="*/ 102791 h 64"/>
                <a:gd name="T14" fmla="*/ 103585 w 64"/>
                <a:gd name="T15" fmla="*/ 117475 h 64"/>
                <a:gd name="T16" fmla="*/ 103585 w 64"/>
                <a:gd name="T17" fmla="*/ 102791 h 64"/>
                <a:gd name="T18" fmla="*/ 103585 w 64"/>
                <a:gd name="T19" fmla="*/ 88106 h 64"/>
                <a:gd name="T20" fmla="*/ 103585 w 64"/>
                <a:gd name="T21" fmla="*/ 73422 h 64"/>
                <a:gd name="T22" fmla="*/ 120849 w 64"/>
                <a:gd name="T23" fmla="*/ 102791 h 64"/>
                <a:gd name="T24" fmla="*/ 138113 w 64"/>
                <a:gd name="T25" fmla="*/ 73422 h 64"/>
                <a:gd name="T26" fmla="*/ 120849 w 64"/>
                <a:gd name="T27" fmla="*/ 29369 h 64"/>
                <a:gd name="T28" fmla="*/ 86321 w 64"/>
                <a:gd name="T29" fmla="*/ 0 h 64"/>
                <a:gd name="T30" fmla="*/ 103585 w 64"/>
                <a:gd name="T31" fmla="*/ 29369 h 64"/>
                <a:gd name="T32" fmla="*/ 86321 w 64"/>
                <a:gd name="T33" fmla="*/ 29369 h 64"/>
                <a:gd name="T34" fmla="*/ 69057 w 64"/>
                <a:gd name="T35" fmla="*/ 29369 h 64"/>
                <a:gd name="T36" fmla="*/ 69057 w 64"/>
                <a:gd name="T37" fmla="*/ 44053 h 64"/>
                <a:gd name="T38" fmla="*/ 51792 w 64"/>
                <a:gd name="T39" fmla="*/ 58738 h 64"/>
                <a:gd name="T40" fmla="*/ 51792 w 64"/>
                <a:gd name="T41" fmla="*/ 44053 h 64"/>
                <a:gd name="T42" fmla="*/ 34528 w 64"/>
                <a:gd name="T43" fmla="*/ 44053 h 64"/>
                <a:gd name="T44" fmla="*/ 0 w 64"/>
                <a:gd name="T45" fmla="*/ 58738 h 64"/>
                <a:gd name="T46" fmla="*/ 0 w 64"/>
                <a:gd name="T47" fmla="*/ 73422 h 6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4"/>
                <a:gd name="T73" fmla="*/ 0 h 64"/>
                <a:gd name="T74" fmla="*/ 64 w 64"/>
                <a:gd name="T75" fmla="*/ 64 h 6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4" h="64">
                  <a:moveTo>
                    <a:pt x="0" y="40"/>
                  </a:moveTo>
                  <a:lnTo>
                    <a:pt x="0" y="48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24" y="32"/>
                  </a:lnTo>
                  <a:lnTo>
                    <a:pt x="32" y="40"/>
                  </a:lnTo>
                  <a:lnTo>
                    <a:pt x="24" y="56"/>
                  </a:lnTo>
                  <a:lnTo>
                    <a:pt x="48" y="64"/>
                  </a:lnTo>
                  <a:lnTo>
                    <a:pt x="48" y="56"/>
                  </a:lnTo>
                  <a:lnTo>
                    <a:pt x="48" y="48"/>
                  </a:lnTo>
                  <a:lnTo>
                    <a:pt x="48" y="40"/>
                  </a:lnTo>
                  <a:lnTo>
                    <a:pt x="56" y="56"/>
                  </a:lnTo>
                  <a:lnTo>
                    <a:pt x="64" y="40"/>
                  </a:lnTo>
                  <a:lnTo>
                    <a:pt x="56" y="16"/>
                  </a:lnTo>
                  <a:lnTo>
                    <a:pt x="40" y="0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32" y="16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24" y="24"/>
                  </a:lnTo>
                  <a:lnTo>
                    <a:pt x="16" y="24"/>
                  </a:lnTo>
                  <a:lnTo>
                    <a:pt x="0" y="32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9" name="Freeform 334">
              <a:extLst>
                <a:ext uri="{FF2B5EF4-FFF2-40B4-BE49-F238E27FC236}">
                  <a16:creationId xmlns:a16="http://schemas.microsoft.com/office/drawing/2014/main" id="{88DF1F34-2B59-4DEA-A22A-D50F795D19AE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11560216" y="4394985"/>
              <a:ext cx="154187" cy="76221"/>
            </a:xfrm>
            <a:custGeom>
              <a:avLst/>
              <a:gdLst>
                <a:gd name="T0" fmla="*/ 0 w 56"/>
                <a:gd name="T1" fmla="*/ 29369 h 32"/>
                <a:gd name="T2" fmla="*/ 17463 w 56"/>
                <a:gd name="T3" fmla="*/ 58738 h 32"/>
                <a:gd name="T4" fmla="*/ 69850 w 56"/>
                <a:gd name="T5" fmla="*/ 58738 h 32"/>
                <a:gd name="T6" fmla="*/ 104775 w 56"/>
                <a:gd name="T7" fmla="*/ 29369 h 32"/>
                <a:gd name="T8" fmla="*/ 122238 w 56"/>
                <a:gd name="T9" fmla="*/ 14685 h 32"/>
                <a:gd name="T10" fmla="*/ 122238 w 56"/>
                <a:gd name="T11" fmla="*/ 0 h 32"/>
                <a:gd name="T12" fmla="*/ 104775 w 56"/>
                <a:gd name="T13" fmla="*/ 0 h 32"/>
                <a:gd name="T14" fmla="*/ 104775 w 56"/>
                <a:gd name="T15" fmla="*/ 14685 h 32"/>
                <a:gd name="T16" fmla="*/ 87313 w 56"/>
                <a:gd name="T17" fmla="*/ 14685 h 32"/>
                <a:gd name="T18" fmla="*/ 69850 w 56"/>
                <a:gd name="T19" fmla="*/ 29369 h 32"/>
                <a:gd name="T20" fmla="*/ 0 w 56"/>
                <a:gd name="T21" fmla="*/ 29369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6"/>
                <a:gd name="T34" fmla="*/ 0 h 32"/>
                <a:gd name="T35" fmla="*/ 56 w 56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6" h="32">
                  <a:moveTo>
                    <a:pt x="0" y="16"/>
                  </a:moveTo>
                  <a:lnTo>
                    <a:pt x="8" y="32"/>
                  </a:lnTo>
                  <a:lnTo>
                    <a:pt x="32" y="32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8" y="0"/>
                  </a:lnTo>
                  <a:lnTo>
                    <a:pt x="48" y="8"/>
                  </a:lnTo>
                  <a:lnTo>
                    <a:pt x="40" y="8"/>
                  </a:lnTo>
                  <a:lnTo>
                    <a:pt x="32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0" name="Freeform 335">
              <a:extLst>
                <a:ext uri="{FF2B5EF4-FFF2-40B4-BE49-F238E27FC236}">
                  <a16:creationId xmlns:a16="http://schemas.microsoft.com/office/drawing/2014/main" id="{8EA3A518-CEE2-485B-B91C-62E7A5113633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11670350" y="4337305"/>
              <a:ext cx="66081" cy="76221"/>
            </a:xfrm>
            <a:custGeom>
              <a:avLst/>
              <a:gdLst>
                <a:gd name="T0" fmla="*/ 0 w 24"/>
                <a:gd name="T1" fmla="*/ 0 h 32"/>
                <a:gd name="T2" fmla="*/ 34925 w 24"/>
                <a:gd name="T3" fmla="*/ 29369 h 32"/>
                <a:gd name="T4" fmla="*/ 52388 w 24"/>
                <a:gd name="T5" fmla="*/ 58738 h 32"/>
                <a:gd name="T6" fmla="*/ 52388 w 24"/>
                <a:gd name="T7" fmla="*/ 29369 h 32"/>
                <a:gd name="T8" fmla="*/ 17463 w 24"/>
                <a:gd name="T9" fmla="*/ 0 h 32"/>
                <a:gd name="T10" fmla="*/ 0 w 24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32"/>
                <a:gd name="T20" fmla="*/ 24 w 24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32">
                  <a:moveTo>
                    <a:pt x="0" y="0"/>
                  </a:moveTo>
                  <a:lnTo>
                    <a:pt x="16" y="16"/>
                  </a:lnTo>
                  <a:lnTo>
                    <a:pt x="24" y="32"/>
                  </a:lnTo>
                  <a:lnTo>
                    <a:pt x="24" y="16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1" name="Freeform 336">
              <a:extLst>
                <a:ext uri="{FF2B5EF4-FFF2-40B4-BE49-F238E27FC236}">
                  <a16:creationId xmlns:a16="http://schemas.microsoft.com/office/drawing/2014/main" id="{31080860-2F39-4444-90EE-0D7C31DD30F1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11800507" y="4432065"/>
              <a:ext cx="44053" cy="57680"/>
            </a:xfrm>
            <a:custGeom>
              <a:avLst/>
              <a:gdLst>
                <a:gd name="T0" fmla="*/ 0 w 16"/>
                <a:gd name="T1" fmla="*/ 0 h 24"/>
                <a:gd name="T2" fmla="*/ 17463 w 16"/>
                <a:gd name="T3" fmla="*/ 44450 h 24"/>
                <a:gd name="T4" fmla="*/ 34925 w 16"/>
                <a:gd name="T5" fmla="*/ 29633 h 24"/>
                <a:gd name="T6" fmla="*/ 0 w 16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24"/>
                <a:gd name="T14" fmla="*/ 16 w 1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24">
                  <a:moveTo>
                    <a:pt x="0" y="0"/>
                  </a:moveTo>
                  <a:lnTo>
                    <a:pt x="8" y="24"/>
                  </a:lnTo>
                  <a:lnTo>
                    <a:pt x="16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2" name="Freeform 337">
              <a:extLst>
                <a:ext uri="{FF2B5EF4-FFF2-40B4-BE49-F238E27FC236}">
                  <a16:creationId xmlns:a16="http://schemas.microsoft.com/office/drawing/2014/main" id="{59387DA6-5CE8-4BD1-8E43-DDE94346DDF3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3818859" y="2211378"/>
              <a:ext cx="44053" cy="20600"/>
            </a:xfrm>
            <a:custGeom>
              <a:avLst/>
              <a:gdLst>
                <a:gd name="T0" fmla="*/ 0 w 16"/>
                <a:gd name="T1" fmla="*/ 0 h 8"/>
                <a:gd name="T2" fmla="*/ 17463 w 16"/>
                <a:gd name="T3" fmla="*/ 0 h 8"/>
                <a:gd name="T4" fmla="*/ 0 w 16"/>
                <a:gd name="T5" fmla="*/ 15875 h 8"/>
                <a:gd name="T6" fmla="*/ 17463 w 16"/>
                <a:gd name="T7" fmla="*/ 0 h 8"/>
                <a:gd name="T8" fmla="*/ 17463 w 16"/>
                <a:gd name="T9" fmla="*/ 15875 h 8"/>
                <a:gd name="T10" fmla="*/ 34925 w 16"/>
                <a:gd name="T11" fmla="*/ 0 h 8"/>
                <a:gd name="T12" fmla="*/ 0 w 16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8"/>
                <a:gd name="T23" fmla="*/ 16 w 1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8">
                  <a:moveTo>
                    <a:pt x="0" y="0"/>
                  </a:moveTo>
                  <a:lnTo>
                    <a:pt x="8" y="0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3" name="Freeform 338">
              <a:extLst>
                <a:ext uri="{FF2B5EF4-FFF2-40B4-BE49-F238E27FC236}">
                  <a16:creationId xmlns:a16="http://schemas.microsoft.com/office/drawing/2014/main" id="{CBD5FEF8-50E9-4EA7-B93F-29B8D582C225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3688703" y="2326738"/>
              <a:ext cx="20024" cy="18541"/>
            </a:xfrm>
            <a:custGeom>
              <a:avLst/>
              <a:gdLst>
                <a:gd name="T0" fmla="*/ 0 w 8"/>
                <a:gd name="T1" fmla="*/ 0 h 8"/>
                <a:gd name="T2" fmla="*/ 15875 w 8"/>
                <a:gd name="T3" fmla="*/ 14288 h 8"/>
                <a:gd name="T4" fmla="*/ 15875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4" name="Freeform 339">
              <a:extLst>
                <a:ext uri="{FF2B5EF4-FFF2-40B4-BE49-F238E27FC236}">
                  <a16:creationId xmlns:a16="http://schemas.microsoft.com/office/drawing/2014/main" id="{43A62E7E-1FF1-4E33-9770-DE39C8141B07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10579030" y="2289658"/>
              <a:ext cx="284344" cy="286342"/>
            </a:xfrm>
            <a:custGeom>
              <a:avLst/>
              <a:gdLst>
                <a:gd name="T0" fmla="*/ 17340 w 104"/>
                <a:gd name="T1" fmla="*/ 29422 h 120"/>
                <a:gd name="T2" fmla="*/ 156063 w 104"/>
                <a:gd name="T3" fmla="*/ 161820 h 120"/>
                <a:gd name="T4" fmla="*/ 173404 w 104"/>
                <a:gd name="T5" fmla="*/ 205952 h 120"/>
                <a:gd name="T6" fmla="*/ 190744 w 104"/>
                <a:gd name="T7" fmla="*/ 220663 h 120"/>
                <a:gd name="T8" fmla="*/ 190744 w 104"/>
                <a:gd name="T9" fmla="*/ 205952 h 120"/>
                <a:gd name="T10" fmla="*/ 225425 w 104"/>
                <a:gd name="T11" fmla="*/ 205952 h 120"/>
                <a:gd name="T12" fmla="*/ 156063 w 104"/>
                <a:gd name="T13" fmla="*/ 161820 h 120"/>
                <a:gd name="T14" fmla="*/ 156063 w 104"/>
                <a:gd name="T15" fmla="*/ 132398 h 120"/>
                <a:gd name="T16" fmla="*/ 190744 w 104"/>
                <a:gd name="T17" fmla="*/ 132398 h 120"/>
                <a:gd name="T18" fmla="*/ 34681 w 104"/>
                <a:gd name="T19" fmla="*/ 0 h 120"/>
                <a:gd name="T20" fmla="*/ 0 w 104"/>
                <a:gd name="T21" fmla="*/ 0 h 120"/>
                <a:gd name="T22" fmla="*/ 17340 w 104"/>
                <a:gd name="T23" fmla="*/ 14711 h 120"/>
                <a:gd name="T24" fmla="*/ 17340 w 104"/>
                <a:gd name="T25" fmla="*/ 29422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20"/>
                <a:gd name="T41" fmla="*/ 104 w 104"/>
                <a:gd name="T42" fmla="*/ 120 h 12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20">
                  <a:moveTo>
                    <a:pt x="8" y="16"/>
                  </a:moveTo>
                  <a:lnTo>
                    <a:pt x="72" y="88"/>
                  </a:lnTo>
                  <a:lnTo>
                    <a:pt x="80" y="112"/>
                  </a:lnTo>
                  <a:lnTo>
                    <a:pt x="88" y="120"/>
                  </a:lnTo>
                  <a:lnTo>
                    <a:pt x="88" y="112"/>
                  </a:lnTo>
                  <a:lnTo>
                    <a:pt x="104" y="112"/>
                  </a:lnTo>
                  <a:lnTo>
                    <a:pt x="72" y="88"/>
                  </a:lnTo>
                  <a:lnTo>
                    <a:pt x="72" y="72"/>
                  </a:lnTo>
                  <a:lnTo>
                    <a:pt x="88" y="72"/>
                  </a:lnTo>
                  <a:lnTo>
                    <a:pt x="16" y="0"/>
                  </a:lnTo>
                  <a:lnTo>
                    <a:pt x="0" y="0"/>
                  </a:lnTo>
                  <a:lnTo>
                    <a:pt x="8" y="8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5" name="Freeform 340">
              <a:extLst>
                <a:ext uri="{FF2B5EF4-FFF2-40B4-BE49-F238E27FC236}">
                  <a16:creationId xmlns:a16="http://schemas.microsoft.com/office/drawing/2014/main" id="{90E9C9E3-5026-4581-926C-F52DEBCE47F0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7132866" y="2920020"/>
              <a:ext cx="22027" cy="18541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14288 h 8"/>
                <a:gd name="T4" fmla="*/ 17463 w 8"/>
                <a:gd name="T5" fmla="*/ 0 h 8"/>
                <a:gd name="T6" fmla="*/ 0 w 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0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6" name="Line 341">
              <a:extLst>
                <a:ext uri="{FF2B5EF4-FFF2-40B4-BE49-F238E27FC236}">
                  <a16:creationId xmlns:a16="http://schemas.microsoft.com/office/drawing/2014/main" id="{3C195A96-A333-4A2B-B202-9FEC91DD4101}"/>
                </a:ext>
              </a:extLst>
            </p:cNvPr>
            <p:cNvSpPr>
              <a:spLocks noChangeShapeType="1"/>
            </p:cNvSpPr>
            <p:nvPr>
              <p:custDataLst>
                <p:tags r:id="rId298"/>
              </p:custDataLst>
            </p:nvPr>
          </p:nvSpPr>
          <p:spPr bwMode="auto">
            <a:xfrm>
              <a:off x="10711190" y="4318765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7" name="Line 342">
              <a:extLst>
                <a:ext uri="{FF2B5EF4-FFF2-40B4-BE49-F238E27FC236}">
                  <a16:creationId xmlns:a16="http://schemas.microsoft.com/office/drawing/2014/main" id="{392F1FD5-9AB0-45FB-93C6-7685490F005E}"/>
                </a:ext>
              </a:extLst>
            </p:cNvPr>
            <p:cNvSpPr>
              <a:spLocks noChangeShapeType="1"/>
            </p:cNvSpPr>
            <p:nvPr>
              <p:custDataLst>
                <p:tags r:id="rId299"/>
              </p:custDataLst>
            </p:nvPr>
          </p:nvSpPr>
          <p:spPr bwMode="auto">
            <a:xfrm flipV="1">
              <a:off x="6480077" y="4127184"/>
              <a:ext cx="2003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8" name="Freeform 343">
              <a:extLst>
                <a:ext uri="{FF2B5EF4-FFF2-40B4-BE49-F238E27FC236}">
                  <a16:creationId xmlns:a16="http://schemas.microsoft.com/office/drawing/2014/main" id="{0D83F7A8-9386-4CC2-8C99-54DD79B9A967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10885401" y="4644246"/>
              <a:ext cx="44053" cy="37080"/>
            </a:xfrm>
            <a:custGeom>
              <a:avLst/>
              <a:gdLst>
                <a:gd name="T0" fmla="*/ 0 w 16"/>
                <a:gd name="T1" fmla="*/ 14288 h 16"/>
                <a:gd name="T2" fmla="*/ 17463 w 16"/>
                <a:gd name="T3" fmla="*/ 28575 h 16"/>
                <a:gd name="T4" fmla="*/ 34925 w 16"/>
                <a:gd name="T5" fmla="*/ 14288 h 16"/>
                <a:gd name="T6" fmla="*/ 34925 w 16"/>
                <a:gd name="T7" fmla="*/ 0 h 16"/>
                <a:gd name="T8" fmla="*/ 0 w 16"/>
                <a:gd name="T9" fmla="*/ 0 h 16"/>
                <a:gd name="T10" fmla="*/ 0 w 16"/>
                <a:gd name="T11" fmla="*/ 14288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16"/>
                <a:gd name="T20" fmla="*/ 16 w 16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16">
                  <a:moveTo>
                    <a:pt x="0" y="8"/>
                  </a:moveTo>
                  <a:lnTo>
                    <a:pt x="8" y="16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9" name="Freeform 344">
              <a:extLst>
                <a:ext uri="{FF2B5EF4-FFF2-40B4-BE49-F238E27FC236}">
                  <a16:creationId xmlns:a16="http://schemas.microsoft.com/office/drawing/2014/main" id="{9A3658E4-6F27-4076-96BD-9F5667F2D679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10645111" y="4547425"/>
              <a:ext cx="152184" cy="57680"/>
            </a:xfrm>
            <a:custGeom>
              <a:avLst/>
              <a:gdLst>
                <a:gd name="T0" fmla="*/ 0 w 56"/>
                <a:gd name="T1" fmla="*/ 44450 h 24"/>
                <a:gd name="T2" fmla="*/ 34471 w 56"/>
                <a:gd name="T3" fmla="*/ 44450 h 24"/>
                <a:gd name="T4" fmla="*/ 51707 w 56"/>
                <a:gd name="T5" fmla="*/ 14817 h 24"/>
                <a:gd name="T6" fmla="*/ 120650 w 56"/>
                <a:gd name="T7" fmla="*/ 0 h 24"/>
                <a:gd name="T8" fmla="*/ 51707 w 56"/>
                <a:gd name="T9" fmla="*/ 0 h 24"/>
                <a:gd name="T10" fmla="*/ 17236 w 56"/>
                <a:gd name="T11" fmla="*/ 29633 h 24"/>
                <a:gd name="T12" fmla="*/ 0 w 56"/>
                <a:gd name="T13" fmla="*/ 4445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6"/>
                <a:gd name="T22" fmla="*/ 0 h 24"/>
                <a:gd name="T23" fmla="*/ 56 w 56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6" h="24">
                  <a:moveTo>
                    <a:pt x="0" y="24"/>
                  </a:moveTo>
                  <a:lnTo>
                    <a:pt x="16" y="24"/>
                  </a:lnTo>
                  <a:lnTo>
                    <a:pt x="24" y="8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8" y="16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0" name="Freeform 345">
              <a:extLst>
                <a:ext uri="{FF2B5EF4-FFF2-40B4-BE49-F238E27FC236}">
                  <a16:creationId xmlns:a16="http://schemas.microsoft.com/office/drawing/2014/main" id="{9D236326-17E6-47B1-8307-AD7E0E2E8345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3512490" y="2576000"/>
              <a:ext cx="44053" cy="18541"/>
            </a:xfrm>
            <a:custGeom>
              <a:avLst/>
              <a:gdLst>
                <a:gd name="T0" fmla="*/ 0 w 16"/>
                <a:gd name="T1" fmla="*/ 0 h 8"/>
                <a:gd name="T2" fmla="*/ 17463 w 16"/>
                <a:gd name="T3" fmla="*/ 14288 h 8"/>
                <a:gd name="T4" fmla="*/ 34925 w 16"/>
                <a:gd name="T5" fmla="*/ 0 h 8"/>
                <a:gd name="T6" fmla="*/ 0 w 16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8"/>
                <a:gd name="T14" fmla="*/ 16 w 1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8">
                  <a:moveTo>
                    <a:pt x="0" y="0"/>
                  </a:moveTo>
                  <a:lnTo>
                    <a:pt x="8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1" name="Freeform 346">
              <a:extLst>
                <a:ext uri="{FF2B5EF4-FFF2-40B4-BE49-F238E27FC236}">
                  <a16:creationId xmlns:a16="http://schemas.microsoft.com/office/drawing/2014/main" id="{4C0D768B-6A58-499B-90B3-22923A25EF13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10404820" y="2250518"/>
              <a:ext cx="22027" cy="18541"/>
            </a:xfrm>
            <a:custGeom>
              <a:avLst/>
              <a:gdLst>
                <a:gd name="T0" fmla="*/ 0 w 8"/>
                <a:gd name="T1" fmla="*/ 14288 h 8"/>
                <a:gd name="T2" fmla="*/ 17463 w 8"/>
                <a:gd name="T3" fmla="*/ 14288 h 8"/>
                <a:gd name="T4" fmla="*/ 0 w 8"/>
                <a:gd name="T5" fmla="*/ 0 h 8"/>
                <a:gd name="T6" fmla="*/ 0 w 8"/>
                <a:gd name="T7" fmla="*/ 1428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0" y="8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2" name="Freeform 347">
              <a:extLst>
                <a:ext uri="{FF2B5EF4-FFF2-40B4-BE49-F238E27FC236}">
                  <a16:creationId xmlns:a16="http://schemas.microsoft.com/office/drawing/2014/main" id="{DFE32C33-0488-4312-AE35-B46387E46529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566180" y="2231978"/>
              <a:ext cx="44053" cy="18541"/>
            </a:xfrm>
            <a:custGeom>
              <a:avLst/>
              <a:gdLst>
                <a:gd name="T0" fmla="*/ 0 w 16"/>
                <a:gd name="T1" fmla="*/ 0 h 8"/>
                <a:gd name="T2" fmla="*/ 0 w 16"/>
                <a:gd name="T3" fmla="*/ 14288 h 8"/>
                <a:gd name="T4" fmla="*/ 17463 w 16"/>
                <a:gd name="T5" fmla="*/ 14288 h 8"/>
                <a:gd name="T6" fmla="*/ 34925 w 16"/>
                <a:gd name="T7" fmla="*/ 14288 h 8"/>
                <a:gd name="T8" fmla="*/ 17463 w 16"/>
                <a:gd name="T9" fmla="*/ 14288 h 8"/>
                <a:gd name="T10" fmla="*/ 34925 w 16"/>
                <a:gd name="T11" fmla="*/ 0 h 8"/>
                <a:gd name="T12" fmla="*/ 0 w 16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8"/>
                <a:gd name="T23" fmla="*/ 16 w 1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8">
                  <a:moveTo>
                    <a:pt x="0" y="0"/>
                  </a:moveTo>
                  <a:lnTo>
                    <a:pt x="0" y="8"/>
                  </a:lnTo>
                  <a:lnTo>
                    <a:pt x="8" y="8"/>
                  </a:lnTo>
                  <a:lnTo>
                    <a:pt x="16" y="8"/>
                  </a:lnTo>
                  <a:lnTo>
                    <a:pt x="8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3" name="Line 348">
              <a:extLst>
                <a:ext uri="{FF2B5EF4-FFF2-40B4-BE49-F238E27FC236}">
                  <a16:creationId xmlns:a16="http://schemas.microsoft.com/office/drawing/2014/main" id="{55131918-02D9-433F-891A-8308114A28A9}"/>
                </a:ext>
              </a:extLst>
            </p:cNvPr>
            <p:cNvSpPr>
              <a:spLocks noChangeShapeType="1"/>
            </p:cNvSpPr>
            <p:nvPr>
              <p:custDataLst>
                <p:tags r:id="rId305"/>
              </p:custDataLst>
            </p:nvPr>
          </p:nvSpPr>
          <p:spPr bwMode="auto">
            <a:xfrm flipV="1">
              <a:off x="6544154" y="2250518"/>
              <a:ext cx="4005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4" name="Line 349">
              <a:extLst>
                <a:ext uri="{FF2B5EF4-FFF2-40B4-BE49-F238E27FC236}">
                  <a16:creationId xmlns:a16="http://schemas.microsoft.com/office/drawing/2014/main" id="{703AC4B5-749D-485A-BEFE-5A973B48A9D9}"/>
                </a:ext>
              </a:extLst>
            </p:cNvPr>
            <p:cNvSpPr>
              <a:spLocks noChangeShapeType="1"/>
            </p:cNvSpPr>
            <p:nvPr>
              <p:custDataLst>
                <p:tags r:id="rId306"/>
              </p:custDataLst>
            </p:nvPr>
          </p:nvSpPr>
          <p:spPr bwMode="auto">
            <a:xfrm>
              <a:off x="6566180" y="2289658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5" name="Freeform 350">
              <a:extLst>
                <a:ext uri="{FF2B5EF4-FFF2-40B4-BE49-F238E27FC236}">
                  <a16:creationId xmlns:a16="http://schemas.microsoft.com/office/drawing/2014/main" id="{1ACFB187-6335-45D6-9DA3-A7FD4F38E7E5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7132866" y="5274608"/>
              <a:ext cx="66081" cy="76221"/>
            </a:xfrm>
            <a:custGeom>
              <a:avLst/>
              <a:gdLst>
                <a:gd name="T0" fmla="*/ 52388 w 24"/>
                <a:gd name="T1" fmla="*/ 14685 h 32"/>
                <a:gd name="T2" fmla="*/ 52388 w 24"/>
                <a:gd name="T3" fmla="*/ 29369 h 32"/>
                <a:gd name="T4" fmla="*/ 17463 w 24"/>
                <a:gd name="T5" fmla="*/ 58738 h 32"/>
                <a:gd name="T6" fmla="*/ 0 w 24"/>
                <a:gd name="T7" fmla="*/ 29369 h 32"/>
                <a:gd name="T8" fmla="*/ 34925 w 24"/>
                <a:gd name="T9" fmla="*/ 0 h 32"/>
                <a:gd name="T10" fmla="*/ 52388 w 24"/>
                <a:gd name="T11" fmla="*/ 0 h 32"/>
                <a:gd name="T12" fmla="*/ 52388 w 24"/>
                <a:gd name="T13" fmla="*/ 14685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32"/>
                <a:gd name="T23" fmla="*/ 24 w 2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32">
                  <a:moveTo>
                    <a:pt x="24" y="8"/>
                  </a:moveTo>
                  <a:lnTo>
                    <a:pt x="24" y="16"/>
                  </a:lnTo>
                  <a:lnTo>
                    <a:pt x="8" y="32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6" name="Line 352">
              <a:extLst>
                <a:ext uri="{FF2B5EF4-FFF2-40B4-BE49-F238E27FC236}">
                  <a16:creationId xmlns:a16="http://schemas.microsoft.com/office/drawing/2014/main" id="{1497962C-E86E-488C-BC69-BFD561DEE586}"/>
                </a:ext>
              </a:extLst>
            </p:cNvPr>
            <p:cNvSpPr>
              <a:spLocks noChangeShapeType="1"/>
            </p:cNvSpPr>
            <p:nvPr>
              <p:custDataLst>
                <p:tags r:id="rId308"/>
              </p:custDataLst>
            </p:nvPr>
          </p:nvSpPr>
          <p:spPr bwMode="auto">
            <a:xfrm flipV="1">
              <a:off x="3578569" y="2959161"/>
              <a:ext cx="22027" cy="1854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7" name="Line 353">
              <a:extLst>
                <a:ext uri="{FF2B5EF4-FFF2-40B4-BE49-F238E27FC236}">
                  <a16:creationId xmlns:a16="http://schemas.microsoft.com/office/drawing/2014/main" id="{4EF81ECF-12BB-4C95-B906-9010D43405B9}"/>
                </a:ext>
              </a:extLst>
            </p:cNvPr>
            <p:cNvSpPr>
              <a:spLocks noChangeShapeType="1"/>
            </p:cNvSpPr>
            <p:nvPr>
              <p:custDataLst>
                <p:tags r:id="rId309"/>
              </p:custDataLst>
            </p:nvPr>
          </p:nvSpPr>
          <p:spPr bwMode="auto">
            <a:xfrm>
              <a:off x="10230609" y="3437082"/>
              <a:ext cx="22027" cy="2061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8" name="Freeform 354">
              <a:extLst>
                <a:ext uri="{FF2B5EF4-FFF2-40B4-BE49-F238E27FC236}">
                  <a16:creationId xmlns:a16="http://schemas.microsoft.com/office/drawing/2014/main" id="{5FADCE3E-14CF-44B5-B484-093A84871519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891365" y="2250518"/>
              <a:ext cx="152184" cy="133901"/>
            </a:xfrm>
            <a:custGeom>
              <a:avLst/>
              <a:gdLst>
                <a:gd name="T0" fmla="*/ 68943 w 56"/>
                <a:gd name="T1" fmla="*/ 14741 h 56"/>
                <a:gd name="T2" fmla="*/ 86179 w 56"/>
                <a:gd name="T3" fmla="*/ 29482 h 56"/>
                <a:gd name="T4" fmla="*/ 120650 w 56"/>
                <a:gd name="T5" fmla="*/ 29482 h 56"/>
                <a:gd name="T6" fmla="*/ 120650 w 56"/>
                <a:gd name="T7" fmla="*/ 58965 h 56"/>
                <a:gd name="T8" fmla="*/ 103414 w 56"/>
                <a:gd name="T9" fmla="*/ 88447 h 56"/>
                <a:gd name="T10" fmla="*/ 17236 w 56"/>
                <a:gd name="T11" fmla="*/ 103188 h 56"/>
                <a:gd name="T12" fmla="*/ 0 w 56"/>
                <a:gd name="T13" fmla="*/ 88447 h 56"/>
                <a:gd name="T14" fmla="*/ 17236 w 56"/>
                <a:gd name="T15" fmla="*/ 88447 h 56"/>
                <a:gd name="T16" fmla="*/ 51707 w 56"/>
                <a:gd name="T17" fmla="*/ 58965 h 56"/>
                <a:gd name="T18" fmla="*/ 17236 w 56"/>
                <a:gd name="T19" fmla="*/ 44223 h 56"/>
                <a:gd name="T20" fmla="*/ 34471 w 56"/>
                <a:gd name="T21" fmla="*/ 44223 h 56"/>
                <a:gd name="T22" fmla="*/ 17236 w 56"/>
                <a:gd name="T23" fmla="*/ 29482 h 56"/>
                <a:gd name="T24" fmla="*/ 34471 w 56"/>
                <a:gd name="T25" fmla="*/ 29482 h 56"/>
                <a:gd name="T26" fmla="*/ 51707 w 56"/>
                <a:gd name="T27" fmla="*/ 29482 h 56"/>
                <a:gd name="T28" fmla="*/ 68943 w 56"/>
                <a:gd name="T29" fmla="*/ 14741 h 56"/>
                <a:gd name="T30" fmla="*/ 51707 w 56"/>
                <a:gd name="T31" fmla="*/ 14741 h 56"/>
                <a:gd name="T32" fmla="*/ 68943 w 56"/>
                <a:gd name="T33" fmla="*/ 0 h 56"/>
                <a:gd name="T34" fmla="*/ 86179 w 56"/>
                <a:gd name="T35" fmla="*/ 0 h 56"/>
                <a:gd name="T36" fmla="*/ 68943 w 56"/>
                <a:gd name="T37" fmla="*/ 14741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6"/>
                <a:gd name="T58" fmla="*/ 0 h 56"/>
                <a:gd name="T59" fmla="*/ 56 w 56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6" h="56">
                  <a:moveTo>
                    <a:pt x="32" y="8"/>
                  </a:moveTo>
                  <a:lnTo>
                    <a:pt x="40" y="16"/>
                  </a:lnTo>
                  <a:lnTo>
                    <a:pt x="56" y="16"/>
                  </a:lnTo>
                  <a:lnTo>
                    <a:pt x="56" y="32"/>
                  </a:lnTo>
                  <a:lnTo>
                    <a:pt x="48" y="48"/>
                  </a:lnTo>
                  <a:lnTo>
                    <a:pt x="8" y="56"/>
                  </a:lnTo>
                  <a:lnTo>
                    <a:pt x="0" y="48"/>
                  </a:lnTo>
                  <a:lnTo>
                    <a:pt x="8" y="48"/>
                  </a:lnTo>
                  <a:lnTo>
                    <a:pt x="24" y="32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8" y="16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32" y="8"/>
                  </a:lnTo>
                  <a:lnTo>
                    <a:pt x="24" y="8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9" name="Freeform 355">
              <a:extLst>
                <a:ext uri="{FF2B5EF4-FFF2-40B4-BE49-F238E27FC236}">
                  <a16:creationId xmlns:a16="http://schemas.microsoft.com/office/drawing/2014/main" id="{8F8BBAA9-697C-428A-9B18-1AD5C6527ED1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6325890" y="2308199"/>
              <a:ext cx="132160" cy="94760"/>
            </a:xfrm>
            <a:custGeom>
              <a:avLst/>
              <a:gdLst>
                <a:gd name="T0" fmla="*/ 0 w 48"/>
                <a:gd name="T1" fmla="*/ 58420 h 40"/>
                <a:gd name="T2" fmla="*/ 34925 w 48"/>
                <a:gd name="T3" fmla="*/ 14605 h 40"/>
                <a:gd name="T4" fmla="*/ 34925 w 48"/>
                <a:gd name="T5" fmla="*/ 29210 h 40"/>
                <a:gd name="T6" fmla="*/ 52387 w 48"/>
                <a:gd name="T7" fmla="*/ 29210 h 40"/>
                <a:gd name="T8" fmla="*/ 69850 w 48"/>
                <a:gd name="T9" fmla="*/ 29210 h 40"/>
                <a:gd name="T10" fmla="*/ 52387 w 48"/>
                <a:gd name="T11" fmla="*/ 14605 h 40"/>
                <a:gd name="T12" fmla="*/ 104775 w 48"/>
                <a:gd name="T13" fmla="*/ 0 h 40"/>
                <a:gd name="T14" fmla="*/ 87313 w 48"/>
                <a:gd name="T15" fmla="*/ 29210 h 40"/>
                <a:gd name="T16" fmla="*/ 69850 w 48"/>
                <a:gd name="T17" fmla="*/ 43815 h 40"/>
                <a:gd name="T18" fmla="*/ 69850 w 48"/>
                <a:gd name="T19" fmla="*/ 73025 h 40"/>
                <a:gd name="T20" fmla="*/ 34925 w 48"/>
                <a:gd name="T21" fmla="*/ 58420 h 40"/>
                <a:gd name="T22" fmla="*/ 0 w 48"/>
                <a:gd name="T23" fmla="*/ 58420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8"/>
                <a:gd name="T37" fmla="*/ 0 h 40"/>
                <a:gd name="T38" fmla="*/ 48 w 48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8" h="40">
                  <a:moveTo>
                    <a:pt x="0" y="32"/>
                  </a:moveTo>
                  <a:lnTo>
                    <a:pt x="16" y="8"/>
                  </a:lnTo>
                  <a:lnTo>
                    <a:pt x="16" y="16"/>
                  </a:lnTo>
                  <a:lnTo>
                    <a:pt x="24" y="16"/>
                  </a:lnTo>
                  <a:lnTo>
                    <a:pt x="32" y="16"/>
                  </a:lnTo>
                  <a:lnTo>
                    <a:pt x="24" y="8"/>
                  </a:lnTo>
                  <a:lnTo>
                    <a:pt x="48" y="0"/>
                  </a:lnTo>
                  <a:lnTo>
                    <a:pt x="40" y="16"/>
                  </a:lnTo>
                  <a:lnTo>
                    <a:pt x="32" y="24"/>
                  </a:lnTo>
                  <a:lnTo>
                    <a:pt x="32" y="40"/>
                  </a:lnTo>
                  <a:lnTo>
                    <a:pt x="16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0" name="Freeform 356">
              <a:extLst>
                <a:ext uri="{FF2B5EF4-FFF2-40B4-BE49-F238E27FC236}">
                  <a16:creationId xmlns:a16="http://schemas.microsoft.com/office/drawing/2014/main" id="{CB454232-2524-48A1-89BE-72D1118A1937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740391" y="2442098"/>
              <a:ext cx="176213" cy="76221"/>
            </a:xfrm>
            <a:custGeom>
              <a:avLst/>
              <a:gdLst>
                <a:gd name="T0" fmla="*/ 0 w 64"/>
                <a:gd name="T1" fmla="*/ 29369 h 32"/>
                <a:gd name="T2" fmla="*/ 17463 w 64"/>
                <a:gd name="T3" fmla="*/ 44053 h 32"/>
                <a:gd name="T4" fmla="*/ 52387 w 64"/>
                <a:gd name="T5" fmla="*/ 58738 h 32"/>
                <a:gd name="T6" fmla="*/ 104775 w 64"/>
                <a:gd name="T7" fmla="*/ 29369 h 32"/>
                <a:gd name="T8" fmla="*/ 139700 w 64"/>
                <a:gd name="T9" fmla="*/ 29369 h 32"/>
                <a:gd name="T10" fmla="*/ 139700 w 64"/>
                <a:gd name="T11" fmla="*/ 14685 h 32"/>
                <a:gd name="T12" fmla="*/ 122237 w 64"/>
                <a:gd name="T13" fmla="*/ 14685 h 32"/>
                <a:gd name="T14" fmla="*/ 87312 w 64"/>
                <a:gd name="T15" fmla="*/ 14685 h 32"/>
                <a:gd name="T16" fmla="*/ 34925 w 64"/>
                <a:gd name="T17" fmla="*/ 0 h 32"/>
                <a:gd name="T18" fmla="*/ 0 w 64"/>
                <a:gd name="T19" fmla="*/ 29369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4"/>
                <a:gd name="T31" fmla="*/ 0 h 32"/>
                <a:gd name="T32" fmla="*/ 64 w 64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4" h="32">
                  <a:moveTo>
                    <a:pt x="0" y="16"/>
                  </a:moveTo>
                  <a:lnTo>
                    <a:pt x="8" y="24"/>
                  </a:lnTo>
                  <a:lnTo>
                    <a:pt x="24" y="32"/>
                  </a:lnTo>
                  <a:lnTo>
                    <a:pt x="48" y="16"/>
                  </a:lnTo>
                  <a:lnTo>
                    <a:pt x="64" y="16"/>
                  </a:lnTo>
                  <a:lnTo>
                    <a:pt x="64" y="8"/>
                  </a:lnTo>
                  <a:lnTo>
                    <a:pt x="56" y="8"/>
                  </a:lnTo>
                  <a:lnTo>
                    <a:pt x="40" y="8"/>
                  </a:lnTo>
                  <a:lnTo>
                    <a:pt x="16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1" name="Freeform 357">
              <a:extLst>
                <a:ext uri="{FF2B5EF4-FFF2-40B4-BE49-F238E27FC236}">
                  <a16:creationId xmlns:a16="http://schemas.microsoft.com/office/drawing/2014/main" id="{67C3361A-5438-4F34-87E7-1CD95E483A43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6588207" y="2384418"/>
              <a:ext cx="196237" cy="94760"/>
            </a:xfrm>
            <a:custGeom>
              <a:avLst/>
              <a:gdLst>
                <a:gd name="T0" fmla="*/ 155575 w 72"/>
                <a:gd name="T1" fmla="*/ 43815 h 40"/>
                <a:gd name="T2" fmla="*/ 121003 w 72"/>
                <a:gd name="T3" fmla="*/ 29210 h 40"/>
                <a:gd name="T4" fmla="*/ 103717 w 72"/>
                <a:gd name="T5" fmla="*/ 14605 h 40"/>
                <a:gd name="T6" fmla="*/ 69144 w 72"/>
                <a:gd name="T7" fmla="*/ 14605 h 40"/>
                <a:gd name="T8" fmla="*/ 69144 w 72"/>
                <a:gd name="T9" fmla="*/ 0 h 40"/>
                <a:gd name="T10" fmla="*/ 0 w 72"/>
                <a:gd name="T11" fmla="*/ 29210 h 40"/>
                <a:gd name="T12" fmla="*/ 17286 w 72"/>
                <a:gd name="T13" fmla="*/ 43815 h 40"/>
                <a:gd name="T14" fmla="*/ 51858 w 72"/>
                <a:gd name="T15" fmla="*/ 73025 h 40"/>
                <a:gd name="T16" fmla="*/ 69144 w 72"/>
                <a:gd name="T17" fmla="*/ 73025 h 40"/>
                <a:gd name="T18" fmla="*/ 86431 w 72"/>
                <a:gd name="T19" fmla="*/ 58420 h 40"/>
                <a:gd name="T20" fmla="*/ 121003 w 72"/>
                <a:gd name="T21" fmla="*/ 73025 h 40"/>
                <a:gd name="T22" fmla="*/ 155575 w 72"/>
                <a:gd name="T23" fmla="*/ 43815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2"/>
                <a:gd name="T37" fmla="*/ 0 h 40"/>
                <a:gd name="T38" fmla="*/ 72 w 72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2" h="40">
                  <a:moveTo>
                    <a:pt x="72" y="24"/>
                  </a:moveTo>
                  <a:lnTo>
                    <a:pt x="56" y="16"/>
                  </a:lnTo>
                  <a:lnTo>
                    <a:pt x="48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16"/>
                  </a:lnTo>
                  <a:lnTo>
                    <a:pt x="8" y="24"/>
                  </a:lnTo>
                  <a:lnTo>
                    <a:pt x="24" y="40"/>
                  </a:lnTo>
                  <a:lnTo>
                    <a:pt x="32" y="40"/>
                  </a:lnTo>
                  <a:lnTo>
                    <a:pt x="40" y="32"/>
                  </a:lnTo>
                  <a:lnTo>
                    <a:pt x="56" y="40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52" name="Group 366">
              <a:extLst>
                <a:ext uri="{FF2B5EF4-FFF2-40B4-BE49-F238E27FC236}">
                  <a16:creationId xmlns:a16="http://schemas.microsoft.com/office/drawing/2014/main" id="{CCDC9167-D9A6-4389-BAB1-10494C2A5F51}"/>
                </a:ext>
              </a:extLst>
            </p:cNvPr>
            <p:cNvGrpSpPr>
              <a:grpSpLocks/>
            </p:cNvGrpSpPr>
            <p:nvPr/>
          </p:nvGrpSpPr>
          <p:grpSpPr>
            <a:xfrm>
              <a:off x="6958654" y="3400002"/>
              <a:ext cx="588712" cy="706582"/>
              <a:chOff x="6392864" y="4495007"/>
              <a:chExt cx="1801474" cy="2120106"/>
            </a:xfrm>
            <a:solidFill>
              <a:schemeClr val="bg1">
                <a:lumMod val="85000"/>
              </a:schemeClr>
            </a:solidFill>
          </p:grpSpPr>
          <p:sp>
            <p:nvSpPr>
              <p:cNvPr id="358" name="Freeform 35">
                <a:extLst>
                  <a:ext uri="{FF2B5EF4-FFF2-40B4-BE49-F238E27FC236}">
                    <a16:creationId xmlns:a16="http://schemas.microsoft.com/office/drawing/2014/main" id="{F716D276-90F0-46DA-8844-DAEC15651B6F}"/>
                  </a:ext>
                </a:extLst>
              </p:cNvPr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6678757" y="5683793"/>
                <a:ext cx="1242630" cy="931320"/>
              </a:xfrm>
              <a:custGeom>
                <a:avLst/>
                <a:gdLst>
                  <a:gd name="T0" fmla="*/ 414867 w 216"/>
                  <a:gd name="T1" fmla="*/ 250182 h 296"/>
                  <a:gd name="T2" fmla="*/ 432153 w 216"/>
                  <a:gd name="T3" fmla="*/ 176599 h 296"/>
                  <a:gd name="T4" fmla="*/ 466725 w 216"/>
                  <a:gd name="T5" fmla="*/ 161882 h 296"/>
                  <a:gd name="T6" fmla="*/ 466725 w 216"/>
                  <a:gd name="T7" fmla="*/ 147166 h 296"/>
                  <a:gd name="T8" fmla="*/ 449439 w 216"/>
                  <a:gd name="T9" fmla="*/ 132449 h 296"/>
                  <a:gd name="T10" fmla="*/ 414867 w 216"/>
                  <a:gd name="T11" fmla="*/ 29433 h 296"/>
                  <a:gd name="T12" fmla="*/ 380294 w 216"/>
                  <a:gd name="T13" fmla="*/ 14717 h 296"/>
                  <a:gd name="T14" fmla="*/ 380294 w 216"/>
                  <a:gd name="T15" fmla="*/ 0 h 296"/>
                  <a:gd name="T16" fmla="*/ 345722 w 216"/>
                  <a:gd name="T17" fmla="*/ 29433 h 296"/>
                  <a:gd name="T18" fmla="*/ 311150 w 216"/>
                  <a:gd name="T19" fmla="*/ 29433 h 296"/>
                  <a:gd name="T20" fmla="*/ 86431 w 216"/>
                  <a:gd name="T21" fmla="*/ 29433 h 296"/>
                  <a:gd name="T22" fmla="*/ 86431 w 216"/>
                  <a:gd name="T23" fmla="*/ 88299 h 296"/>
                  <a:gd name="T24" fmla="*/ 51858 w 216"/>
                  <a:gd name="T25" fmla="*/ 88299 h 296"/>
                  <a:gd name="T26" fmla="*/ 51858 w 216"/>
                  <a:gd name="T27" fmla="*/ 103016 h 296"/>
                  <a:gd name="T28" fmla="*/ 51858 w 216"/>
                  <a:gd name="T29" fmla="*/ 191315 h 296"/>
                  <a:gd name="T30" fmla="*/ 51858 w 216"/>
                  <a:gd name="T31" fmla="*/ 206032 h 296"/>
                  <a:gd name="T32" fmla="*/ 34572 w 216"/>
                  <a:gd name="T33" fmla="*/ 206032 h 296"/>
                  <a:gd name="T34" fmla="*/ 0 w 216"/>
                  <a:gd name="T35" fmla="*/ 279615 h 296"/>
                  <a:gd name="T36" fmla="*/ 34572 w 216"/>
                  <a:gd name="T37" fmla="*/ 323764 h 296"/>
                  <a:gd name="T38" fmla="*/ 17286 w 216"/>
                  <a:gd name="T39" fmla="*/ 338481 h 296"/>
                  <a:gd name="T40" fmla="*/ 51858 w 216"/>
                  <a:gd name="T41" fmla="*/ 367914 h 296"/>
                  <a:gd name="T42" fmla="*/ 51858 w 216"/>
                  <a:gd name="T43" fmla="*/ 397347 h 296"/>
                  <a:gd name="T44" fmla="*/ 86431 w 216"/>
                  <a:gd name="T45" fmla="*/ 412064 h 296"/>
                  <a:gd name="T46" fmla="*/ 172861 w 216"/>
                  <a:gd name="T47" fmla="*/ 500363 h 296"/>
                  <a:gd name="T48" fmla="*/ 190147 w 216"/>
                  <a:gd name="T49" fmla="*/ 515080 h 296"/>
                  <a:gd name="T50" fmla="*/ 224719 w 216"/>
                  <a:gd name="T51" fmla="*/ 515080 h 296"/>
                  <a:gd name="T52" fmla="*/ 259292 w 216"/>
                  <a:gd name="T53" fmla="*/ 544513 h 296"/>
                  <a:gd name="T54" fmla="*/ 293864 w 216"/>
                  <a:gd name="T55" fmla="*/ 544513 h 296"/>
                  <a:gd name="T56" fmla="*/ 345722 w 216"/>
                  <a:gd name="T57" fmla="*/ 529796 h 296"/>
                  <a:gd name="T58" fmla="*/ 363008 w 216"/>
                  <a:gd name="T59" fmla="*/ 515080 h 296"/>
                  <a:gd name="T60" fmla="*/ 397581 w 216"/>
                  <a:gd name="T61" fmla="*/ 515080 h 296"/>
                  <a:gd name="T62" fmla="*/ 397581 w 216"/>
                  <a:gd name="T63" fmla="*/ 500363 h 296"/>
                  <a:gd name="T64" fmla="*/ 380294 w 216"/>
                  <a:gd name="T65" fmla="*/ 485647 h 296"/>
                  <a:gd name="T66" fmla="*/ 345722 w 216"/>
                  <a:gd name="T67" fmla="*/ 441497 h 296"/>
                  <a:gd name="T68" fmla="*/ 328436 w 216"/>
                  <a:gd name="T69" fmla="*/ 426780 h 296"/>
                  <a:gd name="T70" fmla="*/ 328436 w 216"/>
                  <a:gd name="T71" fmla="*/ 412064 h 296"/>
                  <a:gd name="T72" fmla="*/ 345722 w 216"/>
                  <a:gd name="T73" fmla="*/ 412064 h 296"/>
                  <a:gd name="T74" fmla="*/ 363008 w 216"/>
                  <a:gd name="T75" fmla="*/ 353198 h 296"/>
                  <a:gd name="T76" fmla="*/ 414867 w 216"/>
                  <a:gd name="T77" fmla="*/ 279615 h 296"/>
                  <a:gd name="T78" fmla="*/ 414867 w 216"/>
                  <a:gd name="T79" fmla="*/ 250182 h 29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16"/>
                  <a:gd name="T121" fmla="*/ 0 h 296"/>
                  <a:gd name="T122" fmla="*/ 216 w 216"/>
                  <a:gd name="T123" fmla="*/ 296 h 296"/>
                  <a:gd name="connsiteX0" fmla="*/ 8889 w 10000"/>
                  <a:gd name="connsiteY0" fmla="*/ 4325 h 9730"/>
                  <a:gd name="connsiteX1" fmla="*/ 9259 w 10000"/>
                  <a:gd name="connsiteY1" fmla="*/ 2973 h 9730"/>
                  <a:gd name="connsiteX2" fmla="*/ 10000 w 10000"/>
                  <a:gd name="connsiteY2" fmla="*/ 2703 h 9730"/>
                  <a:gd name="connsiteX3" fmla="*/ 10000 w 10000"/>
                  <a:gd name="connsiteY3" fmla="*/ 2433 h 9730"/>
                  <a:gd name="connsiteX4" fmla="*/ 9630 w 10000"/>
                  <a:gd name="connsiteY4" fmla="*/ 2162 h 9730"/>
                  <a:gd name="connsiteX5" fmla="*/ 8889 w 10000"/>
                  <a:gd name="connsiteY5" fmla="*/ 271 h 9730"/>
                  <a:gd name="connsiteX6" fmla="*/ 8148 w 10000"/>
                  <a:gd name="connsiteY6" fmla="*/ 0 h 9730"/>
                  <a:gd name="connsiteX7" fmla="*/ 7407 w 10000"/>
                  <a:gd name="connsiteY7" fmla="*/ 271 h 9730"/>
                  <a:gd name="connsiteX8" fmla="*/ 6667 w 10000"/>
                  <a:gd name="connsiteY8" fmla="*/ 271 h 9730"/>
                  <a:gd name="connsiteX9" fmla="*/ 1852 w 10000"/>
                  <a:gd name="connsiteY9" fmla="*/ 271 h 9730"/>
                  <a:gd name="connsiteX10" fmla="*/ 1852 w 10000"/>
                  <a:gd name="connsiteY10" fmla="*/ 1352 h 9730"/>
                  <a:gd name="connsiteX11" fmla="*/ 1111 w 10000"/>
                  <a:gd name="connsiteY11" fmla="*/ 1352 h 9730"/>
                  <a:gd name="connsiteX12" fmla="*/ 1111 w 10000"/>
                  <a:gd name="connsiteY12" fmla="*/ 1622 h 9730"/>
                  <a:gd name="connsiteX13" fmla="*/ 1111 w 10000"/>
                  <a:gd name="connsiteY13" fmla="*/ 3244 h 9730"/>
                  <a:gd name="connsiteX14" fmla="*/ 1111 w 10000"/>
                  <a:gd name="connsiteY14" fmla="*/ 3514 h 9730"/>
                  <a:gd name="connsiteX15" fmla="*/ 741 w 10000"/>
                  <a:gd name="connsiteY15" fmla="*/ 3514 h 9730"/>
                  <a:gd name="connsiteX16" fmla="*/ 0 w 10000"/>
                  <a:gd name="connsiteY16" fmla="*/ 4865 h 9730"/>
                  <a:gd name="connsiteX17" fmla="*/ 741 w 10000"/>
                  <a:gd name="connsiteY17" fmla="*/ 5676 h 9730"/>
                  <a:gd name="connsiteX18" fmla="*/ 370 w 10000"/>
                  <a:gd name="connsiteY18" fmla="*/ 5946 h 9730"/>
                  <a:gd name="connsiteX19" fmla="*/ 1111 w 10000"/>
                  <a:gd name="connsiteY19" fmla="*/ 6487 h 9730"/>
                  <a:gd name="connsiteX20" fmla="*/ 1111 w 10000"/>
                  <a:gd name="connsiteY20" fmla="*/ 7027 h 9730"/>
                  <a:gd name="connsiteX21" fmla="*/ 1852 w 10000"/>
                  <a:gd name="connsiteY21" fmla="*/ 7298 h 9730"/>
                  <a:gd name="connsiteX22" fmla="*/ 3704 w 10000"/>
                  <a:gd name="connsiteY22" fmla="*/ 8919 h 9730"/>
                  <a:gd name="connsiteX23" fmla="*/ 4074 w 10000"/>
                  <a:gd name="connsiteY23" fmla="*/ 9189 h 9730"/>
                  <a:gd name="connsiteX24" fmla="*/ 4815 w 10000"/>
                  <a:gd name="connsiteY24" fmla="*/ 9189 h 9730"/>
                  <a:gd name="connsiteX25" fmla="*/ 5556 w 10000"/>
                  <a:gd name="connsiteY25" fmla="*/ 9730 h 9730"/>
                  <a:gd name="connsiteX26" fmla="*/ 6296 w 10000"/>
                  <a:gd name="connsiteY26" fmla="*/ 9730 h 9730"/>
                  <a:gd name="connsiteX27" fmla="*/ 7407 w 10000"/>
                  <a:gd name="connsiteY27" fmla="*/ 9460 h 9730"/>
                  <a:gd name="connsiteX28" fmla="*/ 7778 w 10000"/>
                  <a:gd name="connsiteY28" fmla="*/ 9189 h 9730"/>
                  <a:gd name="connsiteX29" fmla="*/ 8519 w 10000"/>
                  <a:gd name="connsiteY29" fmla="*/ 9189 h 9730"/>
                  <a:gd name="connsiteX30" fmla="*/ 8519 w 10000"/>
                  <a:gd name="connsiteY30" fmla="*/ 8919 h 9730"/>
                  <a:gd name="connsiteX31" fmla="*/ 8148 w 10000"/>
                  <a:gd name="connsiteY31" fmla="*/ 8649 h 9730"/>
                  <a:gd name="connsiteX32" fmla="*/ 7407 w 10000"/>
                  <a:gd name="connsiteY32" fmla="*/ 7838 h 9730"/>
                  <a:gd name="connsiteX33" fmla="*/ 7037 w 10000"/>
                  <a:gd name="connsiteY33" fmla="*/ 7568 h 9730"/>
                  <a:gd name="connsiteX34" fmla="*/ 7037 w 10000"/>
                  <a:gd name="connsiteY34" fmla="*/ 7298 h 9730"/>
                  <a:gd name="connsiteX35" fmla="*/ 7407 w 10000"/>
                  <a:gd name="connsiteY35" fmla="*/ 7298 h 9730"/>
                  <a:gd name="connsiteX36" fmla="*/ 7778 w 10000"/>
                  <a:gd name="connsiteY36" fmla="*/ 6216 h 9730"/>
                  <a:gd name="connsiteX37" fmla="*/ 8889 w 10000"/>
                  <a:gd name="connsiteY37" fmla="*/ 4865 h 9730"/>
                  <a:gd name="connsiteX38" fmla="*/ 8889 w 10000"/>
                  <a:gd name="connsiteY38" fmla="*/ 4325 h 9730"/>
                  <a:gd name="connsiteX0" fmla="*/ 8889 w 10000"/>
                  <a:gd name="connsiteY0" fmla="*/ 4166 h 9721"/>
                  <a:gd name="connsiteX1" fmla="*/ 9259 w 10000"/>
                  <a:gd name="connsiteY1" fmla="*/ 2776 h 9721"/>
                  <a:gd name="connsiteX2" fmla="*/ 10000 w 10000"/>
                  <a:gd name="connsiteY2" fmla="*/ 2499 h 9721"/>
                  <a:gd name="connsiteX3" fmla="*/ 10000 w 10000"/>
                  <a:gd name="connsiteY3" fmla="*/ 2222 h 9721"/>
                  <a:gd name="connsiteX4" fmla="*/ 9630 w 10000"/>
                  <a:gd name="connsiteY4" fmla="*/ 1943 h 9721"/>
                  <a:gd name="connsiteX5" fmla="*/ 8889 w 10000"/>
                  <a:gd name="connsiteY5" fmla="*/ 0 h 9721"/>
                  <a:gd name="connsiteX6" fmla="*/ 7407 w 10000"/>
                  <a:gd name="connsiteY6" fmla="*/ 0 h 9721"/>
                  <a:gd name="connsiteX7" fmla="*/ 6667 w 10000"/>
                  <a:gd name="connsiteY7" fmla="*/ 0 h 9721"/>
                  <a:gd name="connsiteX8" fmla="*/ 1852 w 10000"/>
                  <a:gd name="connsiteY8" fmla="*/ 0 h 9721"/>
                  <a:gd name="connsiteX9" fmla="*/ 1852 w 10000"/>
                  <a:gd name="connsiteY9" fmla="*/ 1111 h 9721"/>
                  <a:gd name="connsiteX10" fmla="*/ 1111 w 10000"/>
                  <a:gd name="connsiteY10" fmla="*/ 1111 h 9721"/>
                  <a:gd name="connsiteX11" fmla="*/ 1111 w 10000"/>
                  <a:gd name="connsiteY11" fmla="*/ 1388 h 9721"/>
                  <a:gd name="connsiteX12" fmla="*/ 1111 w 10000"/>
                  <a:gd name="connsiteY12" fmla="*/ 3055 h 9721"/>
                  <a:gd name="connsiteX13" fmla="*/ 1111 w 10000"/>
                  <a:gd name="connsiteY13" fmla="*/ 3333 h 9721"/>
                  <a:gd name="connsiteX14" fmla="*/ 741 w 10000"/>
                  <a:gd name="connsiteY14" fmla="*/ 3333 h 9721"/>
                  <a:gd name="connsiteX15" fmla="*/ 0 w 10000"/>
                  <a:gd name="connsiteY15" fmla="*/ 4721 h 9721"/>
                  <a:gd name="connsiteX16" fmla="*/ 741 w 10000"/>
                  <a:gd name="connsiteY16" fmla="*/ 5555 h 9721"/>
                  <a:gd name="connsiteX17" fmla="*/ 370 w 10000"/>
                  <a:gd name="connsiteY17" fmla="*/ 5832 h 9721"/>
                  <a:gd name="connsiteX18" fmla="*/ 1111 w 10000"/>
                  <a:gd name="connsiteY18" fmla="*/ 6388 h 9721"/>
                  <a:gd name="connsiteX19" fmla="*/ 1111 w 10000"/>
                  <a:gd name="connsiteY19" fmla="*/ 6943 h 9721"/>
                  <a:gd name="connsiteX20" fmla="*/ 1852 w 10000"/>
                  <a:gd name="connsiteY20" fmla="*/ 7222 h 9721"/>
                  <a:gd name="connsiteX21" fmla="*/ 3704 w 10000"/>
                  <a:gd name="connsiteY21" fmla="*/ 8887 h 9721"/>
                  <a:gd name="connsiteX22" fmla="*/ 4074 w 10000"/>
                  <a:gd name="connsiteY22" fmla="*/ 9165 h 9721"/>
                  <a:gd name="connsiteX23" fmla="*/ 4815 w 10000"/>
                  <a:gd name="connsiteY23" fmla="*/ 9165 h 9721"/>
                  <a:gd name="connsiteX24" fmla="*/ 5556 w 10000"/>
                  <a:gd name="connsiteY24" fmla="*/ 9721 h 9721"/>
                  <a:gd name="connsiteX25" fmla="*/ 6296 w 10000"/>
                  <a:gd name="connsiteY25" fmla="*/ 9721 h 9721"/>
                  <a:gd name="connsiteX26" fmla="*/ 7407 w 10000"/>
                  <a:gd name="connsiteY26" fmla="*/ 9444 h 9721"/>
                  <a:gd name="connsiteX27" fmla="*/ 7778 w 10000"/>
                  <a:gd name="connsiteY27" fmla="*/ 9165 h 9721"/>
                  <a:gd name="connsiteX28" fmla="*/ 8519 w 10000"/>
                  <a:gd name="connsiteY28" fmla="*/ 9165 h 9721"/>
                  <a:gd name="connsiteX29" fmla="*/ 8519 w 10000"/>
                  <a:gd name="connsiteY29" fmla="*/ 8887 h 9721"/>
                  <a:gd name="connsiteX30" fmla="*/ 8148 w 10000"/>
                  <a:gd name="connsiteY30" fmla="*/ 8610 h 9721"/>
                  <a:gd name="connsiteX31" fmla="*/ 7407 w 10000"/>
                  <a:gd name="connsiteY31" fmla="*/ 7776 h 9721"/>
                  <a:gd name="connsiteX32" fmla="*/ 7037 w 10000"/>
                  <a:gd name="connsiteY32" fmla="*/ 7499 h 9721"/>
                  <a:gd name="connsiteX33" fmla="*/ 7037 w 10000"/>
                  <a:gd name="connsiteY33" fmla="*/ 7222 h 9721"/>
                  <a:gd name="connsiteX34" fmla="*/ 7407 w 10000"/>
                  <a:gd name="connsiteY34" fmla="*/ 7222 h 9721"/>
                  <a:gd name="connsiteX35" fmla="*/ 7778 w 10000"/>
                  <a:gd name="connsiteY35" fmla="*/ 6109 h 9721"/>
                  <a:gd name="connsiteX36" fmla="*/ 8889 w 10000"/>
                  <a:gd name="connsiteY36" fmla="*/ 4721 h 9721"/>
                  <a:gd name="connsiteX37" fmla="*/ 8889 w 10000"/>
                  <a:gd name="connsiteY37" fmla="*/ 4166 h 9721"/>
                  <a:gd name="connsiteX0" fmla="*/ 8889 w 10000"/>
                  <a:gd name="connsiteY0" fmla="*/ 4286 h 10000"/>
                  <a:gd name="connsiteX1" fmla="*/ 9259 w 10000"/>
                  <a:gd name="connsiteY1" fmla="*/ 2856 h 10000"/>
                  <a:gd name="connsiteX2" fmla="*/ 10000 w 10000"/>
                  <a:gd name="connsiteY2" fmla="*/ 2571 h 10000"/>
                  <a:gd name="connsiteX3" fmla="*/ 10000 w 10000"/>
                  <a:gd name="connsiteY3" fmla="*/ 2286 h 10000"/>
                  <a:gd name="connsiteX4" fmla="*/ 9630 w 10000"/>
                  <a:gd name="connsiteY4" fmla="*/ 1999 h 10000"/>
                  <a:gd name="connsiteX5" fmla="*/ 7407 w 10000"/>
                  <a:gd name="connsiteY5" fmla="*/ 0 h 10000"/>
                  <a:gd name="connsiteX6" fmla="*/ 6667 w 10000"/>
                  <a:gd name="connsiteY6" fmla="*/ 0 h 10000"/>
                  <a:gd name="connsiteX7" fmla="*/ 1852 w 10000"/>
                  <a:gd name="connsiteY7" fmla="*/ 0 h 10000"/>
                  <a:gd name="connsiteX8" fmla="*/ 1852 w 10000"/>
                  <a:gd name="connsiteY8" fmla="*/ 1143 h 10000"/>
                  <a:gd name="connsiteX9" fmla="*/ 1111 w 10000"/>
                  <a:gd name="connsiteY9" fmla="*/ 1143 h 10000"/>
                  <a:gd name="connsiteX10" fmla="*/ 1111 w 10000"/>
                  <a:gd name="connsiteY10" fmla="*/ 1428 h 10000"/>
                  <a:gd name="connsiteX11" fmla="*/ 1111 w 10000"/>
                  <a:gd name="connsiteY11" fmla="*/ 3143 h 10000"/>
                  <a:gd name="connsiteX12" fmla="*/ 1111 w 10000"/>
                  <a:gd name="connsiteY12" fmla="*/ 3429 h 10000"/>
                  <a:gd name="connsiteX13" fmla="*/ 741 w 10000"/>
                  <a:gd name="connsiteY13" fmla="*/ 3429 h 10000"/>
                  <a:gd name="connsiteX14" fmla="*/ 0 w 10000"/>
                  <a:gd name="connsiteY14" fmla="*/ 4856 h 10000"/>
                  <a:gd name="connsiteX15" fmla="*/ 741 w 10000"/>
                  <a:gd name="connsiteY15" fmla="*/ 5714 h 10000"/>
                  <a:gd name="connsiteX16" fmla="*/ 370 w 10000"/>
                  <a:gd name="connsiteY16" fmla="*/ 5999 h 10000"/>
                  <a:gd name="connsiteX17" fmla="*/ 1111 w 10000"/>
                  <a:gd name="connsiteY17" fmla="*/ 6571 h 10000"/>
                  <a:gd name="connsiteX18" fmla="*/ 1111 w 10000"/>
                  <a:gd name="connsiteY18" fmla="*/ 7142 h 10000"/>
                  <a:gd name="connsiteX19" fmla="*/ 1852 w 10000"/>
                  <a:gd name="connsiteY19" fmla="*/ 7429 h 10000"/>
                  <a:gd name="connsiteX20" fmla="*/ 3704 w 10000"/>
                  <a:gd name="connsiteY20" fmla="*/ 9142 h 10000"/>
                  <a:gd name="connsiteX21" fmla="*/ 4074 w 10000"/>
                  <a:gd name="connsiteY21" fmla="*/ 9428 h 10000"/>
                  <a:gd name="connsiteX22" fmla="*/ 4815 w 10000"/>
                  <a:gd name="connsiteY22" fmla="*/ 9428 h 10000"/>
                  <a:gd name="connsiteX23" fmla="*/ 5556 w 10000"/>
                  <a:gd name="connsiteY23" fmla="*/ 10000 h 10000"/>
                  <a:gd name="connsiteX24" fmla="*/ 6296 w 10000"/>
                  <a:gd name="connsiteY24" fmla="*/ 10000 h 10000"/>
                  <a:gd name="connsiteX25" fmla="*/ 7407 w 10000"/>
                  <a:gd name="connsiteY25" fmla="*/ 9715 h 10000"/>
                  <a:gd name="connsiteX26" fmla="*/ 7778 w 10000"/>
                  <a:gd name="connsiteY26" fmla="*/ 9428 h 10000"/>
                  <a:gd name="connsiteX27" fmla="*/ 8519 w 10000"/>
                  <a:gd name="connsiteY27" fmla="*/ 9428 h 10000"/>
                  <a:gd name="connsiteX28" fmla="*/ 8519 w 10000"/>
                  <a:gd name="connsiteY28" fmla="*/ 9142 h 10000"/>
                  <a:gd name="connsiteX29" fmla="*/ 8148 w 10000"/>
                  <a:gd name="connsiteY29" fmla="*/ 8857 h 10000"/>
                  <a:gd name="connsiteX30" fmla="*/ 7407 w 10000"/>
                  <a:gd name="connsiteY30" fmla="*/ 7999 h 10000"/>
                  <a:gd name="connsiteX31" fmla="*/ 7037 w 10000"/>
                  <a:gd name="connsiteY31" fmla="*/ 7714 h 10000"/>
                  <a:gd name="connsiteX32" fmla="*/ 7037 w 10000"/>
                  <a:gd name="connsiteY32" fmla="*/ 7429 h 10000"/>
                  <a:gd name="connsiteX33" fmla="*/ 7407 w 10000"/>
                  <a:gd name="connsiteY33" fmla="*/ 7429 h 10000"/>
                  <a:gd name="connsiteX34" fmla="*/ 7778 w 10000"/>
                  <a:gd name="connsiteY34" fmla="*/ 6284 h 10000"/>
                  <a:gd name="connsiteX35" fmla="*/ 8889 w 10000"/>
                  <a:gd name="connsiteY35" fmla="*/ 4856 h 10000"/>
                  <a:gd name="connsiteX36" fmla="*/ 8889 w 10000"/>
                  <a:gd name="connsiteY36" fmla="*/ 4286 h 10000"/>
                  <a:gd name="connsiteX0" fmla="*/ 8889 w 10000"/>
                  <a:gd name="connsiteY0" fmla="*/ 4286 h 10000"/>
                  <a:gd name="connsiteX1" fmla="*/ 9259 w 10000"/>
                  <a:gd name="connsiteY1" fmla="*/ 2856 h 10000"/>
                  <a:gd name="connsiteX2" fmla="*/ 10000 w 10000"/>
                  <a:gd name="connsiteY2" fmla="*/ 2571 h 10000"/>
                  <a:gd name="connsiteX3" fmla="*/ 10000 w 10000"/>
                  <a:gd name="connsiteY3" fmla="*/ 2286 h 10000"/>
                  <a:gd name="connsiteX4" fmla="*/ 7407 w 10000"/>
                  <a:gd name="connsiteY4" fmla="*/ 0 h 10000"/>
                  <a:gd name="connsiteX5" fmla="*/ 6667 w 10000"/>
                  <a:gd name="connsiteY5" fmla="*/ 0 h 10000"/>
                  <a:gd name="connsiteX6" fmla="*/ 1852 w 10000"/>
                  <a:gd name="connsiteY6" fmla="*/ 0 h 10000"/>
                  <a:gd name="connsiteX7" fmla="*/ 1852 w 10000"/>
                  <a:gd name="connsiteY7" fmla="*/ 1143 h 10000"/>
                  <a:gd name="connsiteX8" fmla="*/ 1111 w 10000"/>
                  <a:gd name="connsiteY8" fmla="*/ 1143 h 10000"/>
                  <a:gd name="connsiteX9" fmla="*/ 1111 w 10000"/>
                  <a:gd name="connsiteY9" fmla="*/ 1428 h 10000"/>
                  <a:gd name="connsiteX10" fmla="*/ 1111 w 10000"/>
                  <a:gd name="connsiteY10" fmla="*/ 3143 h 10000"/>
                  <a:gd name="connsiteX11" fmla="*/ 1111 w 10000"/>
                  <a:gd name="connsiteY11" fmla="*/ 3429 h 10000"/>
                  <a:gd name="connsiteX12" fmla="*/ 741 w 10000"/>
                  <a:gd name="connsiteY12" fmla="*/ 3429 h 10000"/>
                  <a:gd name="connsiteX13" fmla="*/ 0 w 10000"/>
                  <a:gd name="connsiteY13" fmla="*/ 4856 h 10000"/>
                  <a:gd name="connsiteX14" fmla="*/ 741 w 10000"/>
                  <a:gd name="connsiteY14" fmla="*/ 5714 h 10000"/>
                  <a:gd name="connsiteX15" fmla="*/ 370 w 10000"/>
                  <a:gd name="connsiteY15" fmla="*/ 5999 h 10000"/>
                  <a:gd name="connsiteX16" fmla="*/ 1111 w 10000"/>
                  <a:gd name="connsiteY16" fmla="*/ 6571 h 10000"/>
                  <a:gd name="connsiteX17" fmla="*/ 1111 w 10000"/>
                  <a:gd name="connsiteY17" fmla="*/ 7142 h 10000"/>
                  <a:gd name="connsiteX18" fmla="*/ 1852 w 10000"/>
                  <a:gd name="connsiteY18" fmla="*/ 7429 h 10000"/>
                  <a:gd name="connsiteX19" fmla="*/ 3704 w 10000"/>
                  <a:gd name="connsiteY19" fmla="*/ 9142 h 10000"/>
                  <a:gd name="connsiteX20" fmla="*/ 4074 w 10000"/>
                  <a:gd name="connsiteY20" fmla="*/ 9428 h 10000"/>
                  <a:gd name="connsiteX21" fmla="*/ 4815 w 10000"/>
                  <a:gd name="connsiteY21" fmla="*/ 9428 h 10000"/>
                  <a:gd name="connsiteX22" fmla="*/ 5556 w 10000"/>
                  <a:gd name="connsiteY22" fmla="*/ 10000 h 10000"/>
                  <a:gd name="connsiteX23" fmla="*/ 6296 w 10000"/>
                  <a:gd name="connsiteY23" fmla="*/ 10000 h 10000"/>
                  <a:gd name="connsiteX24" fmla="*/ 7407 w 10000"/>
                  <a:gd name="connsiteY24" fmla="*/ 9715 h 10000"/>
                  <a:gd name="connsiteX25" fmla="*/ 7778 w 10000"/>
                  <a:gd name="connsiteY25" fmla="*/ 9428 h 10000"/>
                  <a:gd name="connsiteX26" fmla="*/ 8519 w 10000"/>
                  <a:gd name="connsiteY26" fmla="*/ 9428 h 10000"/>
                  <a:gd name="connsiteX27" fmla="*/ 8519 w 10000"/>
                  <a:gd name="connsiteY27" fmla="*/ 9142 h 10000"/>
                  <a:gd name="connsiteX28" fmla="*/ 8148 w 10000"/>
                  <a:gd name="connsiteY28" fmla="*/ 8857 h 10000"/>
                  <a:gd name="connsiteX29" fmla="*/ 7407 w 10000"/>
                  <a:gd name="connsiteY29" fmla="*/ 7999 h 10000"/>
                  <a:gd name="connsiteX30" fmla="*/ 7037 w 10000"/>
                  <a:gd name="connsiteY30" fmla="*/ 7714 h 10000"/>
                  <a:gd name="connsiteX31" fmla="*/ 7037 w 10000"/>
                  <a:gd name="connsiteY31" fmla="*/ 7429 h 10000"/>
                  <a:gd name="connsiteX32" fmla="*/ 7407 w 10000"/>
                  <a:gd name="connsiteY32" fmla="*/ 7429 h 10000"/>
                  <a:gd name="connsiteX33" fmla="*/ 7778 w 10000"/>
                  <a:gd name="connsiteY33" fmla="*/ 6284 h 10000"/>
                  <a:gd name="connsiteX34" fmla="*/ 8889 w 10000"/>
                  <a:gd name="connsiteY34" fmla="*/ 4856 h 10000"/>
                  <a:gd name="connsiteX35" fmla="*/ 8889 w 10000"/>
                  <a:gd name="connsiteY35" fmla="*/ 4286 h 10000"/>
                  <a:gd name="connsiteX0" fmla="*/ 8889 w 10000"/>
                  <a:gd name="connsiteY0" fmla="*/ 4286 h 10000"/>
                  <a:gd name="connsiteX1" fmla="*/ 9259 w 10000"/>
                  <a:gd name="connsiteY1" fmla="*/ 2856 h 10000"/>
                  <a:gd name="connsiteX2" fmla="*/ 10000 w 10000"/>
                  <a:gd name="connsiteY2" fmla="*/ 2571 h 10000"/>
                  <a:gd name="connsiteX3" fmla="*/ 7407 w 10000"/>
                  <a:gd name="connsiteY3" fmla="*/ 0 h 10000"/>
                  <a:gd name="connsiteX4" fmla="*/ 6667 w 10000"/>
                  <a:gd name="connsiteY4" fmla="*/ 0 h 10000"/>
                  <a:gd name="connsiteX5" fmla="*/ 1852 w 10000"/>
                  <a:gd name="connsiteY5" fmla="*/ 0 h 10000"/>
                  <a:gd name="connsiteX6" fmla="*/ 1852 w 10000"/>
                  <a:gd name="connsiteY6" fmla="*/ 1143 h 10000"/>
                  <a:gd name="connsiteX7" fmla="*/ 1111 w 10000"/>
                  <a:gd name="connsiteY7" fmla="*/ 1143 h 10000"/>
                  <a:gd name="connsiteX8" fmla="*/ 1111 w 10000"/>
                  <a:gd name="connsiteY8" fmla="*/ 1428 h 10000"/>
                  <a:gd name="connsiteX9" fmla="*/ 1111 w 10000"/>
                  <a:gd name="connsiteY9" fmla="*/ 3143 h 10000"/>
                  <a:gd name="connsiteX10" fmla="*/ 1111 w 10000"/>
                  <a:gd name="connsiteY10" fmla="*/ 3429 h 10000"/>
                  <a:gd name="connsiteX11" fmla="*/ 741 w 10000"/>
                  <a:gd name="connsiteY11" fmla="*/ 3429 h 10000"/>
                  <a:gd name="connsiteX12" fmla="*/ 0 w 10000"/>
                  <a:gd name="connsiteY12" fmla="*/ 4856 h 10000"/>
                  <a:gd name="connsiteX13" fmla="*/ 741 w 10000"/>
                  <a:gd name="connsiteY13" fmla="*/ 5714 h 10000"/>
                  <a:gd name="connsiteX14" fmla="*/ 370 w 10000"/>
                  <a:gd name="connsiteY14" fmla="*/ 5999 h 10000"/>
                  <a:gd name="connsiteX15" fmla="*/ 1111 w 10000"/>
                  <a:gd name="connsiteY15" fmla="*/ 6571 h 10000"/>
                  <a:gd name="connsiteX16" fmla="*/ 1111 w 10000"/>
                  <a:gd name="connsiteY16" fmla="*/ 7142 h 10000"/>
                  <a:gd name="connsiteX17" fmla="*/ 1852 w 10000"/>
                  <a:gd name="connsiteY17" fmla="*/ 7429 h 10000"/>
                  <a:gd name="connsiteX18" fmla="*/ 3704 w 10000"/>
                  <a:gd name="connsiteY18" fmla="*/ 9142 h 10000"/>
                  <a:gd name="connsiteX19" fmla="*/ 4074 w 10000"/>
                  <a:gd name="connsiteY19" fmla="*/ 9428 h 10000"/>
                  <a:gd name="connsiteX20" fmla="*/ 4815 w 10000"/>
                  <a:gd name="connsiteY20" fmla="*/ 9428 h 10000"/>
                  <a:gd name="connsiteX21" fmla="*/ 5556 w 10000"/>
                  <a:gd name="connsiteY21" fmla="*/ 10000 h 10000"/>
                  <a:gd name="connsiteX22" fmla="*/ 6296 w 10000"/>
                  <a:gd name="connsiteY22" fmla="*/ 10000 h 10000"/>
                  <a:gd name="connsiteX23" fmla="*/ 7407 w 10000"/>
                  <a:gd name="connsiteY23" fmla="*/ 9715 h 10000"/>
                  <a:gd name="connsiteX24" fmla="*/ 7778 w 10000"/>
                  <a:gd name="connsiteY24" fmla="*/ 9428 h 10000"/>
                  <a:gd name="connsiteX25" fmla="*/ 8519 w 10000"/>
                  <a:gd name="connsiteY25" fmla="*/ 9428 h 10000"/>
                  <a:gd name="connsiteX26" fmla="*/ 8519 w 10000"/>
                  <a:gd name="connsiteY26" fmla="*/ 9142 h 10000"/>
                  <a:gd name="connsiteX27" fmla="*/ 8148 w 10000"/>
                  <a:gd name="connsiteY27" fmla="*/ 8857 h 10000"/>
                  <a:gd name="connsiteX28" fmla="*/ 7407 w 10000"/>
                  <a:gd name="connsiteY28" fmla="*/ 7999 h 10000"/>
                  <a:gd name="connsiteX29" fmla="*/ 7037 w 10000"/>
                  <a:gd name="connsiteY29" fmla="*/ 7714 h 10000"/>
                  <a:gd name="connsiteX30" fmla="*/ 7037 w 10000"/>
                  <a:gd name="connsiteY30" fmla="*/ 7429 h 10000"/>
                  <a:gd name="connsiteX31" fmla="*/ 7407 w 10000"/>
                  <a:gd name="connsiteY31" fmla="*/ 7429 h 10000"/>
                  <a:gd name="connsiteX32" fmla="*/ 7778 w 10000"/>
                  <a:gd name="connsiteY32" fmla="*/ 6284 h 10000"/>
                  <a:gd name="connsiteX33" fmla="*/ 8889 w 10000"/>
                  <a:gd name="connsiteY33" fmla="*/ 4856 h 10000"/>
                  <a:gd name="connsiteX34" fmla="*/ 8889 w 10000"/>
                  <a:gd name="connsiteY34" fmla="*/ 4286 h 10000"/>
                  <a:gd name="connsiteX0" fmla="*/ 8889 w 9259"/>
                  <a:gd name="connsiteY0" fmla="*/ 4286 h 10000"/>
                  <a:gd name="connsiteX1" fmla="*/ 9259 w 9259"/>
                  <a:gd name="connsiteY1" fmla="*/ 2856 h 10000"/>
                  <a:gd name="connsiteX2" fmla="*/ 7407 w 9259"/>
                  <a:gd name="connsiteY2" fmla="*/ 0 h 10000"/>
                  <a:gd name="connsiteX3" fmla="*/ 6667 w 9259"/>
                  <a:gd name="connsiteY3" fmla="*/ 0 h 10000"/>
                  <a:gd name="connsiteX4" fmla="*/ 1852 w 9259"/>
                  <a:gd name="connsiteY4" fmla="*/ 0 h 10000"/>
                  <a:gd name="connsiteX5" fmla="*/ 1852 w 9259"/>
                  <a:gd name="connsiteY5" fmla="*/ 1143 h 10000"/>
                  <a:gd name="connsiteX6" fmla="*/ 1111 w 9259"/>
                  <a:gd name="connsiteY6" fmla="*/ 1143 h 10000"/>
                  <a:gd name="connsiteX7" fmla="*/ 1111 w 9259"/>
                  <a:gd name="connsiteY7" fmla="*/ 1428 h 10000"/>
                  <a:gd name="connsiteX8" fmla="*/ 1111 w 9259"/>
                  <a:gd name="connsiteY8" fmla="*/ 3143 h 10000"/>
                  <a:gd name="connsiteX9" fmla="*/ 1111 w 9259"/>
                  <a:gd name="connsiteY9" fmla="*/ 3429 h 10000"/>
                  <a:gd name="connsiteX10" fmla="*/ 741 w 9259"/>
                  <a:gd name="connsiteY10" fmla="*/ 3429 h 10000"/>
                  <a:gd name="connsiteX11" fmla="*/ 0 w 9259"/>
                  <a:gd name="connsiteY11" fmla="*/ 4856 h 10000"/>
                  <a:gd name="connsiteX12" fmla="*/ 741 w 9259"/>
                  <a:gd name="connsiteY12" fmla="*/ 5714 h 10000"/>
                  <a:gd name="connsiteX13" fmla="*/ 370 w 9259"/>
                  <a:gd name="connsiteY13" fmla="*/ 5999 h 10000"/>
                  <a:gd name="connsiteX14" fmla="*/ 1111 w 9259"/>
                  <a:gd name="connsiteY14" fmla="*/ 6571 h 10000"/>
                  <a:gd name="connsiteX15" fmla="*/ 1111 w 9259"/>
                  <a:gd name="connsiteY15" fmla="*/ 7142 h 10000"/>
                  <a:gd name="connsiteX16" fmla="*/ 1852 w 9259"/>
                  <a:gd name="connsiteY16" fmla="*/ 7429 h 10000"/>
                  <a:gd name="connsiteX17" fmla="*/ 3704 w 9259"/>
                  <a:gd name="connsiteY17" fmla="*/ 9142 h 10000"/>
                  <a:gd name="connsiteX18" fmla="*/ 4074 w 9259"/>
                  <a:gd name="connsiteY18" fmla="*/ 9428 h 10000"/>
                  <a:gd name="connsiteX19" fmla="*/ 4815 w 9259"/>
                  <a:gd name="connsiteY19" fmla="*/ 9428 h 10000"/>
                  <a:gd name="connsiteX20" fmla="*/ 5556 w 9259"/>
                  <a:gd name="connsiteY20" fmla="*/ 10000 h 10000"/>
                  <a:gd name="connsiteX21" fmla="*/ 6296 w 9259"/>
                  <a:gd name="connsiteY21" fmla="*/ 10000 h 10000"/>
                  <a:gd name="connsiteX22" fmla="*/ 7407 w 9259"/>
                  <a:gd name="connsiteY22" fmla="*/ 9715 h 10000"/>
                  <a:gd name="connsiteX23" fmla="*/ 7778 w 9259"/>
                  <a:gd name="connsiteY23" fmla="*/ 9428 h 10000"/>
                  <a:gd name="connsiteX24" fmla="*/ 8519 w 9259"/>
                  <a:gd name="connsiteY24" fmla="*/ 9428 h 10000"/>
                  <a:gd name="connsiteX25" fmla="*/ 8519 w 9259"/>
                  <a:gd name="connsiteY25" fmla="*/ 9142 h 10000"/>
                  <a:gd name="connsiteX26" fmla="*/ 8148 w 9259"/>
                  <a:gd name="connsiteY26" fmla="*/ 8857 h 10000"/>
                  <a:gd name="connsiteX27" fmla="*/ 7407 w 9259"/>
                  <a:gd name="connsiteY27" fmla="*/ 7999 h 10000"/>
                  <a:gd name="connsiteX28" fmla="*/ 7037 w 9259"/>
                  <a:gd name="connsiteY28" fmla="*/ 7714 h 10000"/>
                  <a:gd name="connsiteX29" fmla="*/ 7037 w 9259"/>
                  <a:gd name="connsiteY29" fmla="*/ 7429 h 10000"/>
                  <a:gd name="connsiteX30" fmla="*/ 7407 w 9259"/>
                  <a:gd name="connsiteY30" fmla="*/ 7429 h 10000"/>
                  <a:gd name="connsiteX31" fmla="*/ 7778 w 9259"/>
                  <a:gd name="connsiteY31" fmla="*/ 6284 h 10000"/>
                  <a:gd name="connsiteX32" fmla="*/ 8889 w 9259"/>
                  <a:gd name="connsiteY32" fmla="*/ 4856 h 10000"/>
                  <a:gd name="connsiteX33" fmla="*/ 8889 w 9259"/>
                  <a:gd name="connsiteY33" fmla="*/ 4286 h 10000"/>
                  <a:gd name="connsiteX0" fmla="*/ 9600 w 10000"/>
                  <a:gd name="connsiteY0" fmla="*/ 4286 h 10000"/>
                  <a:gd name="connsiteX1" fmla="*/ 10000 w 10000"/>
                  <a:gd name="connsiteY1" fmla="*/ 2856 h 10000"/>
                  <a:gd name="connsiteX2" fmla="*/ 7201 w 10000"/>
                  <a:gd name="connsiteY2" fmla="*/ 0 h 10000"/>
                  <a:gd name="connsiteX3" fmla="*/ 2000 w 10000"/>
                  <a:gd name="connsiteY3" fmla="*/ 0 h 10000"/>
                  <a:gd name="connsiteX4" fmla="*/ 2000 w 10000"/>
                  <a:gd name="connsiteY4" fmla="*/ 1143 h 10000"/>
                  <a:gd name="connsiteX5" fmla="*/ 1200 w 10000"/>
                  <a:gd name="connsiteY5" fmla="*/ 1143 h 10000"/>
                  <a:gd name="connsiteX6" fmla="*/ 1200 w 10000"/>
                  <a:gd name="connsiteY6" fmla="*/ 1428 h 10000"/>
                  <a:gd name="connsiteX7" fmla="*/ 1200 w 10000"/>
                  <a:gd name="connsiteY7" fmla="*/ 3143 h 10000"/>
                  <a:gd name="connsiteX8" fmla="*/ 1200 w 10000"/>
                  <a:gd name="connsiteY8" fmla="*/ 3429 h 10000"/>
                  <a:gd name="connsiteX9" fmla="*/ 800 w 10000"/>
                  <a:gd name="connsiteY9" fmla="*/ 3429 h 10000"/>
                  <a:gd name="connsiteX10" fmla="*/ 0 w 10000"/>
                  <a:gd name="connsiteY10" fmla="*/ 4856 h 10000"/>
                  <a:gd name="connsiteX11" fmla="*/ 800 w 10000"/>
                  <a:gd name="connsiteY11" fmla="*/ 5714 h 10000"/>
                  <a:gd name="connsiteX12" fmla="*/ 400 w 10000"/>
                  <a:gd name="connsiteY12" fmla="*/ 5999 h 10000"/>
                  <a:gd name="connsiteX13" fmla="*/ 1200 w 10000"/>
                  <a:gd name="connsiteY13" fmla="*/ 6571 h 10000"/>
                  <a:gd name="connsiteX14" fmla="*/ 1200 w 10000"/>
                  <a:gd name="connsiteY14" fmla="*/ 7142 h 10000"/>
                  <a:gd name="connsiteX15" fmla="*/ 2000 w 10000"/>
                  <a:gd name="connsiteY15" fmla="*/ 7429 h 10000"/>
                  <a:gd name="connsiteX16" fmla="*/ 4000 w 10000"/>
                  <a:gd name="connsiteY16" fmla="*/ 9142 h 10000"/>
                  <a:gd name="connsiteX17" fmla="*/ 4400 w 10000"/>
                  <a:gd name="connsiteY17" fmla="*/ 9428 h 10000"/>
                  <a:gd name="connsiteX18" fmla="*/ 5200 w 10000"/>
                  <a:gd name="connsiteY18" fmla="*/ 9428 h 10000"/>
                  <a:gd name="connsiteX19" fmla="*/ 6001 w 10000"/>
                  <a:gd name="connsiteY19" fmla="*/ 10000 h 10000"/>
                  <a:gd name="connsiteX20" fmla="*/ 6800 w 10000"/>
                  <a:gd name="connsiteY20" fmla="*/ 10000 h 10000"/>
                  <a:gd name="connsiteX21" fmla="*/ 8000 w 10000"/>
                  <a:gd name="connsiteY21" fmla="*/ 9715 h 10000"/>
                  <a:gd name="connsiteX22" fmla="*/ 8400 w 10000"/>
                  <a:gd name="connsiteY22" fmla="*/ 9428 h 10000"/>
                  <a:gd name="connsiteX23" fmla="*/ 9201 w 10000"/>
                  <a:gd name="connsiteY23" fmla="*/ 9428 h 10000"/>
                  <a:gd name="connsiteX24" fmla="*/ 9201 w 10000"/>
                  <a:gd name="connsiteY24" fmla="*/ 9142 h 10000"/>
                  <a:gd name="connsiteX25" fmla="*/ 8800 w 10000"/>
                  <a:gd name="connsiteY25" fmla="*/ 8857 h 10000"/>
                  <a:gd name="connsiteX26" fmla="*/ 8000 w 10000"/>
                  <a:gd name="connsiteY26" fmla="*/ 7999 h 10000"/>
                  <a:gd name="connsiteX27" fmla="*/ 7600 w 10000"/>
                  <a:gd name="connsiteY27" fmla="*/ 7714 h 10000"/>
                  <a:gd name="connsiteX28" fmla="*/ 7600 w 10000"/>
                  <a:gd name="connsiteY28" fmla="*/ 7429 h 10000"/>
                  <a:gd name="connsiteX29" fmla="*/ 8000 w 10000"/>
                  <a:gd name="connsiteY29" fmla="*/ 7429 h 10000"/>
                  <a:gd name="connsiteX30" fmla="*/ 8400 w 10000"/>
                  <a:gd name="connsiteY30" fmla="*/ 6284 h 10000"/>
                  <a:gd name="connsiteX31" fmla="*/ 9600 w 10000"/>
                  <a:gd name="connsiteY31" fmla="*/ 4856 h 10000"/>
                  <a:gd name="connsiteX32" fmla="*/ 9600 w 10000"/>
                  <a:gd name="connsiteY32" fmla="*/ 4286 h 10000"/>
                  <a:gd name="connsiteX0" fmla="*/ 9600 w 10000"/>
                  <a:gd name="connsiteY0" fmla="*/ 4286 h 10000"/>
                  <a:gd name="connsiteX1" fmla="*/ 10000 w 10000"/>
                  <a:gd name="connsiteY1" fmla="*/ 2856 h 10000"/>
                  <a:gd name="connsiteX2" fmla="*/ 2000 w 10000"/>
                  <a:gd name="connsiteY2" fmla="*/ 0 h 10000"/>
                  <a:gd name="connsiteX3" fmla="*/ 2000 w 10000"/>
                  <a:gd name="connsiteY3" fmla="*/ 1143 h 10000"/>
                  <a:gd name="connsiteX4" fmla="*/ 1200 w 10000"/>
                  <a:gd name="connsiteY4" fmla="*/ 1143 h 10000"/>
                  <a:gd name="connsiteX5" fmla="*/ 1200 w 10000"/>
                  <a:gd name="connsiteY5" fmla="*/ 1428 h 10000"/>
                  <a:gd name="connsiteX6" fmla="*/ 1200 w 10000"/>
                  <a:gd name="connsiteY6" fmla="*/ 3143 h 10000"/>
                  <a:gd name="connsiteX7" fmla="*/ 1200 w 10000"/>
                  <a:gd name="connsiteY7" fmla="*/ 3429 h 10000"/>
                  <a:gd name="connsiteX8" fmla="*/ 800 w 10000"/>
                  <a:gd name="connsiteY8" fmla="*/ 3429 h 10000"/>
                  <a:gd name="connsiteX9" fmla="*/ 0 w 10000"/>
                  <a:gd name="connsiteY9" fmla="*/ 4856 h 10000"/>
                  <a:gd name="connsiteX10" fmla="*/ 800 w 10000"/>
                  <a:gd name="connsiteY10" fmla="*/ 5714 h 10000"/>
                  <a:gd name="connsiteX11" fmla="*/ 400 w 10000"/>
                  <a:gd name="connsiteY11" fmla="*/ 5999 h 10000"/>
                  <a:gd name="connsiteX12" fmla="*/ 1200 w 10000"/>
                  <a:gd name="connsiteY12" fmla="*/ 6571 h 10000"/>
                  <a:gd name="connsiteX13" fmla="*/ 1200 w 10000"/>
                  <a:gd name="connsiteY13" fmla="*/ 7142 h 10000"/>
                  <a:gd name="connsiteX14" fmla="*/ 2000 w 10000"/>
                  <a:gd name="connsiteY14" fmla="*/ 7429 h 10000"/>
                  <a:gd name="connsiteX15" fmla="*/ 4000 w 10000"/>
                  <a:gd name="connsiteY15" fmla="*/ 9142 h 10000"/>
                  <a:gd name="connsiteX16" fmla="*/ 4400 w 10000"/>
                  <a:gd name="connsiteY16" fmla="*/ 9428 h 10000"/>
                  <a:gd name="connsiteX17" fmla="*/ 5200 w 10000"/>
                  <a:gd name="connsiteY17" fmla="*/ 9428 h 10000"/>
                  <a:gd name="connsiteX18" fmla="*/ 6001 w 10000"/>
                  <a:gd name="connsiteY18" fmla="*/ 10000 h 10000"/>
                  <a:gd name="connsiteX19" fmla="*/ 6800 w 10000"/>
                  <a:gd name="connsiteY19" fmla="*/ 10000 h 10000"/>
                  <a:gd name="connsiteX20" fmla="*/ 8000 w 10000"/>
                  <a:gd name="connsiteY20" fmla="*/ 9715 h 10000"/>
                  <a:gd name="connsiteX21" fmla="*/ 8400 w 10000"/>
                  <a:gd name="connsiteY21" fmla="*/ 9428 h 10000"/>
                  <a:gd name="connsiteX22" fmla="*/ 9201 w 10000"/>
                  <a:gd name="connsiteY22" fmla="*/ 9428 h 10000"/>
                  <a:gd name="connsiteX23" fmla="*/ 9201 w 10000"/>
                  <a:gd name="connsiteY23" fmla="*/ 9142 h 10000"/>
                  <a:gd name="connsiteX24" fmla="*/ 8800 w 10000"/>
                  <a:gd name="connsiteY24" fmla="*/ 8857 h 10000"/>
                  <a:gd name="connsiteX25" fmla="*/ 8000 w 10000"/>
                  <a:gd name="connsiteY25" fmla="*/ 7999 h 10000"/>
                  <a:gd name="connsiteX26" fmla="*/ 7600 w 10000"/>
                  <a:gd name="connsiteY26" fmla="*/ 7714 h 10000"/>
                  <a:gd name="connsiteX27" fmla="*/ 7600 w 10000"/>
                  <a:gd name="connsiteY27" fmla="*/ 7429 h 10000"/>
                  <a:gd name="connsiteX28" fmla="*/ 8000 w 10000"/>
                  <a:gd name="connsiteY28" fmla="*/ 7429 h 10000"/>
                  <a:gd name="connsiteX29" fmla="*/ 8400 w 10000"/>
                  <a:gd name="connsiteY29" fmla="*/ 6284 h 10000"/>
                  <a:gd name="connsiteX30" fmla="*/ 9600 w 10000"/>
                  <a:gd name="connsiteY30" fmla="*/ 4856 h 10000"/>
                  <a:gd name="connsiteX31" fmla="*/ 9600 w 10000"/>
                  <a:gd name="connsiteY31" fmla="*/ 4286 h 10000"/>
                  <a:gd name="connsiteX0" fmla="*/ 9600 w 10000"/>
                  <a:gd name="connsiteY0" fmla="*/ 3143 h 8857"/>
                  <a:gd name="connsiteX1" fmla="*/ 10000 w 10000"/>
                  <a:gd name="connsiteY1" fmla="*/ 1713 h 8857"/>
                  <a:gd name="connsiteX2" fmla="*/ 2000 w 10000"/>
                  <a:gd name="connsiteY2" fmla="*/ 0 h 8857"/>
                  <a:gd name="connsiteX3" fmla="*/ 1200 w 10000"/>
                  <a:gd name="connsiteY3" fmla="*/ 0 h 8857"/>
                  <a:gd name="connsiteX4" fmla="*/ 1200 w 10000"/>
                  <a:gd name="connsiteY4" fmla="*/ 285 h 8857"/>
                  <a:gd name="connsiteX5" fmla="*/ 1200 w 10000"/>
                  <a:gd name="connsiteY5" fmla="*/ 2000 h 8857"/>
                  <a:gd name="connsiteX6" fmla="*/ 1200 w 10000"/>
                  <a:gd name="connsiteY6" fmla="*/ 2286 h 8857"/>
                  <a:gd name="connsiteX7" fmla="*/ 800 w 10000"/>
                  <a:gd name="connsiteY7" fmla="*/ 2286 h 8857"/>
                  <a:gd name="connsiteX8" fmla="*/ 0 w 10000"/>
                  <a:gd name="connsiteY8" fmla="*/ 3713 h 8857"/>
                  <a:gd name="connsiteX9" fmla="*/ 800 w 10000"/>
                  <a:gd name="connsiteY9" fmla="*/ 4571 h 8857"/>
                  <a:gd name="connsiteX10" fmla="*/ 400 w 10000"/>
                  <a:gd name="connsiteY10" fmla="*/ 4856 h 8857"/>
                  <a:gd name="connsiteX11" fmla="*/ 1200 w 10000"/>
                  <a:gd name="connsiteY11" fmla="*/ 5428 h 8857"/>
                  <a:gd name="connsiteX12" fmla="*/ 1200 w 10000"/>
                  <a:gd name="connsiteY12" fmla="*/ 5999 h 8857"/>
                  <a:gd name="connsiteX13" fmla="*/ 2000 w 10000"/>
                  <a:gd name="connsiteY13" fmla="*/ 6286 h 8857"/>
                  <a:gd name="connsiteX14" fmla="*/ 4000 w 10000"/>
                  <a:gd name="connsiteY14" fmla="*/ 7999 h 8857"/>
                  <a:gd name="connsiteX15" fmla="*/ 4400 w 10000"/>
                  <a:gd name="connsiteY15" fmla="*/ 8285 h 8857"/>
                  <a:gd name="connsiteX16" fmla="*/ 5200 w 10000"/>
                  <a:gd name="connsiteY16" fmla="*/ 8285 h 8857"/>
                  <a:gd name="connsiteX17" fmla="*/ 6001 w 10000"/>
                  <a:gd name="connsiteY17" fmla="*/ 8857 h 8857"/>
                  <a:gd name="connsiteX18" fmla="*/ 6800 w 10000"/>
                  <a:gd name="connsiteY18" fmla="*/ 8857 h 8857"/>
                  <a:gd name="connsiteX19" fmla="*/ 8000 w 10000"/>
                  <a:gd name="connsiteY19" fmla="*/ 8572 h 8857"/>
                  <a:gd name="connsiteX20" fmla="*/ 8400 w 10000"/>
                  <a:gd name="connsiteY20" fmla="*/ 8285 h 8857"/>
                  <a:gd name="connsiteX21" fmla="*/ 9201 w 10000"/>
                  <a:gd name="connsiteY21" fmla="*/ 8285 h 8857"/>
                  <a:gd name="connsiteX22" fmla="*/ 9201 w 10000"/>
                  <a:gd name="connsiteY22" fmla="*/ 7999 h 8857"/>
                  <a:gd name="connsiteX23" fmla="*/ 8800 w 10000"/>
                  <a:gd name="connsiteY23" fmla="*/ 7714 h 8857"/>
                  <a:gd name="connsiteX24" fmla="*/ 8000 w 10000"/>
                  <a:gd name="connsiteY24" fmla="*/ 6856 h 8857"/>
                  <a:gd name="connsiteX25" fmla="*/ 7600 w 10000"/>
                  <a:gd name="connsiteY25" fmla="*/ 6571 h 8857"/>
                  <a:gd name="connsiteX26" fmla="*/ 7600 w 10000"/>
                  <a:gd name="connsiteY26" fmla="*/ 6286 h 8857"/>
                  <a:gd name="connsiteX27" fmla="*/ 8000 w 10000"/>
                  <a:gd name="connsiteY27" fmla="*/ 6286 h 8857"/>
                  <a:gd name="connsiteX28" fmla="*/ 8400 w 10000"/>
                  <a:gd name="connsiteY28" fmla="*/ 5141 h 8857"/>
                  <a:gd name="connsiteX29" fmla="*/ 9600 w 10000"/>
                  <a:gd name="connsiteY29" fmla="*/ 3713 h 8857"/>
                  <a:gd name="connsiteX30" fmla="*/ 9600 w 10000"/>
                  <a:gd name="connsiteY30" fmla="*/ 3143 h 8857"/>
                  <a:gd name="connsiteX0" fmla="*/ 9600 w 10000"/>
                  <a:gd name="connsiteY0" fmla="*/ 3549 h 10000"/>
                  <a:gd name="connsiteX1" fmla="*/ 10000 w 10000"/>
                  <a:gd name="connsiteY1" fmla="*/ 1934 h 10000"/>
                  <a:gd name="connsiteX2" fmla="*/ 1200 w 10000"/>
                  <a:gd name="connsiteY2" fmla="*/ 0 h 10000"/>
                  <a:gd name="connsiteX3" fmla="*/ 1200 w 10000"/>
                  <a:gd name="connsiteY3" fmla="*/ 322 h 10000"/>
                  <a:gd name="connsiteX4" fmla="*/ 1200 w 10000"/>
                  <a:gd name="connsiteY4" fmla="*/ 2258 h 10000"/>
                  <a:gd name="connsiteX5" fmla="*/ 1200 w 10000"/>
                  <a:gd name="connsiteY5" fmla="*/ 2581 h 10000"/>
                  <a:gd name="connsiteX6" fmla="*/ 800 w 10000"/>
                  <a:gd name="connsiteY6" fmla="*/ 2581 h 10000"/>
                  <a:gd name="connsiteX7" fmla="*/ 0 w 10000"/>
                  <a:gd name="connsiteY7" fmla="*/ 4192 h 10000"/>
                  <a:gd name="connsiteX8" fmla="*/ 800 w 10000"/>
                  <a:gd name="connsiteY8" fmla="*/ 5161 h 10000"/>
                  <a:gd name="connsiteX9" fmla="*/ 400 w 10000"/>
                  <a:gd name="connsiteY9" fmla="*/ 5483 h 10000"/>
                  <a:gd name="connsiteX10" fmla="*/ 1200 w 10000"/>
                  <a:gd name="connsiteY10" fmla="*/ 6128 h 10000"/>
                  <a:gd name="connsiteX11" fmla="*/ 1200 w 10000"/>
                  <a:gd name="connsiteY11" fmla="*/ 6773 h 10000"/>
                  <a:gd name="connsiteX12" fmla="*/ 2000 w 10000"/>
                  <a:gd name="connsiteY12" fmla="*/ 7097 h 10000"/>
                  <a:gd name="connsiteX13" fmla="*/ 4000 w 10000"/>
                  <a:gd name="connsiteY13" fmla="*/ 9031 h 10000"/>
                  <a:gd name="connsiteX14" fmla="*/ 4400 w 10000"/>
                  <a:gd name="connsiteY14" fmla="*/ 9354 h 10000"/>
                  <a:gd name="connsiteX15" fmla="*/ 5200 w 10000"/>
                  <a:gd name="connsiteY15" fmla="*/ 9354 h 10000"/>
                  <a:gd name="connsiteX16" fmla="*/ 6001 w 10000"/>
                  <a:gd name="connsiteY16" fmla="*/ 10000 h 10000"/>
                  <a:gd name="connsiteX17" fmla="*/ 6800 w 10000"/>
                  <a:gd name="connsiteY17" fmla="*/ 10000 h 10000"/>
                  <a:gd name="connsiteX18" fmla="*/ 8000 w 10000"/>
                  <a:gd name="connsiteY18" fmla="*/ 9678 h 10000"/>
                  <a:gd name="connsiteX19" fmla="*/ 8400 w 10000"/>
                  <a:gd name="connsiteY19" fmla="*/ 9354 h 10000"/>
                  <a:gd name="connsiteX20" fmla="*/ 9201 w 10000"/>
                  <a:gd name="connsiteY20" fmla="*/ 9354 h 10000"/>
                  <a:gd name="connsiteX21" fmla="*/ 9201 w 10000"/>
                  <a:gd name="connsiteY21" fmla="*/ 9031 h 10000"/>
                  <a:gd name="connsiteX22" fmla="*/ 8800 w 10000"/>
                  <a:gd name="connsiteY22" fmla="*/ 8709 h 10000"/>
                  <a:gd name="connsiteX23" fmla="*/ 8000 w 10000"/>
                  <a:gd name="connsiteY23" fmla="*/ 7741 h 10000"/>
                  <a:gd name="connsiteX24" fmla="*/ 7600 w 10000"/>
                  <a:gd name="connsiteY24" fmla="*/ 7419 h 10000"/>
                  <a:gd name="connsiteX25" fmla="*/ 7600 w 10000"/>
                  <a:gd name="connsiteY25" fmla="*/ 7097 h 10000"/>
                  <a:gd name="connsiteX26" fmla="*/ 8000 w 10000"/>
                  <a:gd name="connsiteY26" fmla="*/ 7097 h 10000"/>
                  <a:gd name="connsiteX27" fmla="*/ 8400 w 10000"/>
                  <a:gd name="connsiteY27" fmla="*/ 5804 h 10000"/>
                  <a:gd name="connsiteX28" fmla="*/ 9600 w 10000"/>
                  <a:gd name="connsiteY28" fmla="*/ 4192 h 10000"/>
                  <a:gd name="connsiteX29" fmla="*/ 9600 w 10000"/>
                  <a:gd name="connsiteY29" fmla="*/ 3549 h 10000"/>
                  <a:gd name="connsiteX0" fmla="*/ 9600 w 10000"/>
                  <a:gd name="connsiteY0" fmla="*/ 3549 h 10000"/>
                  <a:gd name="connsiteX1" fmla="*/ 10000 w 10000"/>
                  <a:gd name="connsiteY1" fmla="*/ 1934 h 10000"/>
                  <a:gd name="connsiteX2" fmla="*/ 1200 w 10000"/>
                  <a:gd name="connsiteY2" fmla="*/ 0 h 10000"/>
                  <a:gd name="connsiteX3" fmla="*/ 1200 w 10000"/>
                  <a:gd name="connsiteY3" fmla="*/ 2258 h 10000"/>
                  <a:gd name="connsiteX4" fmla="*/ 1200 w 10000"/>
                  <a:gd name="connsiteY4" fmla="*/ 2581 h 10000"/>
                  <a:gd name="connsiteX5" fmla="*/ 800 w 10000"/>
                  <a:gd name="connsiteY5" fmla="*/ 2581 h 10000"/>
                  <a:gd name="connsiteX6" fmla="*/ 0 w 10000"/>
                  <a:gd name="connsiteY6" fmla="*/ 4192 h 10000"/>
                  <a:gd name="connsiteX7" fmla="*/ 800 w 10000"/>
                  <a:gd name="connsiteY7" fmla="*/ 5161 h 10000"/>
                  <a:gd name="connsiteX8" fmla="*/ 400 w 10000"/>
                  <a:gd name="connsiteY8" fmla="*/ 5483 h 10000"/>
                  <a:gd name="connsiteX9" fmla="*/ 1200 w 10000"/>
                  <a:gd name="connsiteY9" fmla="*/ 6128 h 10000"/>
                  <a:gd name="connsiteX10" fmla="*/ 1200 w 10000"/>
                  <a:gd name="connsiteY10" fmla="*/ 6773 h 10000"/>
                  <a:gd name="connsiteX11" fmla="*/ 2000 w 10000"/>
                  <a:gd name="connsiteY11" fmla="*/ 7097 h 10000"/>
                  <a:gd name="connsiteX12" fmla="*/ 4000 w 10000"/>
                  <a:gd name="connsiteY12" fmla="*/ 9031 h 10000"/>
                  <a:gd name="connsiteX13" fmla="*/ 4400 w 10000"/>
                  <a:gd name="connsiteY13" fmla="*/ 9354 h 10000"/>
                  <a:gd name="connsiteX14" fmla="*/ 5200 w 10000"/>
                  <a:gd name="connsiteY14" fmla="*/ 9354 h 10000"/>
                  <a:gd name="connsiteX15" fmla="*/ 6001 w 10000"/>
                  <a:gd name="connsiteY15" fmla="*/ 10000 h 10000"/>
                  <a:gd name="connsiteX16" fmla="*/ 6800 w 10000"/>
                  <a:gd name="connsiteY16" fmla="*/ 10000 h 10000"/>
                  <a:gd name="connsiteX17" fmla="*/ 8000 w 10000"/>
                  <a:gd name="connsiteY17" fmla="*/ 9678 h 10000"/>
                  <a:gd name="connsiteX18" fmla="*/ 8400 w 10000"/>
                  <a:gd name="connsiteY18" fmla="*/ 9354 h 10000"/>
                  <a:gd name="connsiteX19" fmla="*/ 9201 w 10000"/>
                  <a:gd name="connsiteY19" fmla="*/ 9354 h 10000"/>
                  <a:gd name="connsiteX20" fmla="*/ 9201 w 10000"/>
                  <a:gd name="connsiteY20" fmla="*/ 9031 h 10000"/>
                  <a:gd name="connsiteX21" fmla="*/ 8800 w 10000"/>
                  <a:gd name="connsiteY21" fmla="*/ 8709 h 10000"/>
                  <a:gd name="connsiteX22" fmla="*/ 8000 w 10000"/>
                  <a:gd name="connsiteY22" fmla="*/ 7741 h 10000"/>
                  <a:gd name="connsiteX23" fmla="*/ 7600 w 10000"/>
                  <a:gd name="connsiteY23" fmla="*/ 7419 h 10000"/>
                  <a:gd name="connsiteX24" fmla="*/ 7600 w 10000"/>
                  <a:gd name="connsiteY24" fmla="*/ 7097 h 10000"/>
                  <a:gd name="connsiteX25" fmla="*/ 8000 w 10000"/>
                  <a:gd name="connsiteY25" fmla="*/ 7097 h 10000"/>
                  <a:gd name="connsiteX26" fmla="*/ 8400 w 10000"/>
                  <a:gd name="connsiteY26" fmla="*/ 5804 h 10000"/>
                  <a:gd name="connsiteX27" fmla="*/ 9600 w 10000"/>
                  <a:gd name="connsiteY27" fmla="*/ 4192 h 10000"/>
                  <a:gd name="connsiteX28" fmla="*/ 9600 w 10000"/>
                  <a:gd name="connsiteY28" fmla="*/ 3549 h 10000"/>
                  <a:gd name="connsiteX0" fmla="*/ 9600 w 10000"/>
                  <a:gd name="connsiteY0" fmla="*/ 1615 h 8066"/>
                  <a:gd name="connsiteX1" fmla="*/ 10000 w 10000"/>
                  <a:gd name="connsiteY1" fmla="*/ 0 h 8066"/>
                  <a:gd name="connsiteX2" fmla="*/ 1200 w 10000"/>
                  <a:gd name="connsiteY2" fmla="*/ 324 h 8066"/>
                  <a:gd name="connsiteX3" fmla="*/ 1200 w 10000"/>
                  <a:gd name="connsiteY3" fmla="*/ 647 h 8066"/>
                  <a:gd name="connsiteX4" fmla="*/ 800 w 10000"/>
                  <a:gd name="connsiteY4" fmla="*/ 647 h 8066"/>
                  <a:gd name="connsiteX5" fmla="*/ 0 w 10000"/>
                  <a:gd name="connsiteY5" fmla="*/ 2258 h 8066"/>
                  <a:gd name="connsiteX6" fmla="*/ 800 w 10000"/>
                  <a:gd name="connsiteY6" fmla="*/ 3227 h 8066"/>
                  <a:gd name="connsiteX7" fmla="*/ 400 w 10000"/>
                  <a:gd name="connsiteY7" fmla="*/ 3549 h 8066"/>
                  <a:gd name="connsiteX8" fmla="*/ 1200 w 10000"/>
                  <a:gd name="connsiteY8" fmla="*/ 4194 h 8066"/>
                  <a:gd name="connsiteX9" fmla="*/ 1200 w 10000"/>
                  <a:gd name="connsiteY9" fmla="*/ 4839 h 8066"/>
                  <a:gd name="connsiteX10" fmla="*/ 2000 w 10000"/>
                  <a:gd name="connsiteY10" fmla="*/ 5163 h 8066"/>
                  <a:gd name="connsiteX11" fmla="*/ 4000 w 10000"/>
                  <a:gd name="connsiteY11" fmla="*/ 7097 h 8066"/>
                  <a:gd name="connsiteX12" fmla="*/ 4400 w 10000"/>
                  <a:gd name="connsiteY12" fmla="*/ 7420 h 8066"/>
                  <a:gd name="connsiteX13" fmla="*/ 5200 w 10000"/>
                  <a:gd name="connsiteY13" fmla="*/ 7420 h 8066"/>
                  <a:gd name="connsiteX14" fmla="*/ 6001 w 10000"/>
                  <a:gd name="connsiteY14" fmla="*/ 8066 h 8066"/>
                  <a:gd name="connsiteX15" fmla="*/ 6800 w 10000"/>
                  <a:gd name="connsiteY15" fmla="*/ 8066 h 8066"/>
                  <a:gd name="connsiteX16" fmla="*/ 8000 w 10000"/>
                  <a:gd name="connsiteY16" fmla="*/ 7744 h 8066"/>
                  <a:gd name="connsiteX17" fmla="*/ 8400 w 10000"/>
                  <a:gd name="connsiteY17" fmla="*/ 7420 h 8066"/>
                  <a:gd name="connsiteX18" fmla="*/ 9201 w 10000"/>
                  <a:gd name="connsiteY18" fmla="*/ 7420 h 8066"/>
                  <a:gd name="connsiteX19" fmla="*/ 9201 w 10000"/>
                  <a:gd name="connsiteY19" fmla="*/ 7097 h 8066"/>
                  <a:gd name="connsiteX20" fmla="*/ 8800 w 10000"/>
                  <a:gd name="connsiteY20" fmla="*/ 6775 h 8066"/>
                  <a:gd name="connsiteX21" fmla="*/ 8000 w 10000"/>
                  <a:gd name="connsiteY21" fmla="*/ 5807 h 8066"/>
                  <a:gd name="connsiteX22" fmla="*/ 7600 w 10000"/>
                  <a:gd name="connsiteY22" fmla="*/ 5485 h 8066"/>
                  <a:gd name="connsiteX23" fmla="*/ 7600 w 10000"/>
                  <a:gd name="connsiteY23" fmla="*/ 5163 h 8066"/>
                  <a:gd name="connsiteX24" fmla="*/ 8000 w 10000"/>
                  <a:gd name="connsiteY24" fmla="*/ 5163 h 8066"/>
                  <a:gd name="connsiteX25" fmla="*/ 8400 w 10000"/>
                  <a:gd name="connsiteY25" fmla="*/ 3870 h 8066"/>
                  <a:gd name="connsiteX26" fmla="*/ 9600 w 10000"/>
                  <a:gd name="connsiteY26" fmla="*/ 2258 h 8066"/>
                  <a:gd name="connsiteX27" fmla="*/ 9600 w 10000"/>
                  <a:gd name="connsiteY27" fmla="*/ 1615 h 8066"/>
                  <a:gd name="connsiteX0" fmla="*/ 9600 w 9600"/>
                  <a:gd name="connsiteY0" fmla="*/ 1600 h 9598"/>
                  <a:gd name="connsiteX1" fmla="*/ 1200 w 9600"/>
                  <a:gd name="connsiteY1" fmla="*/ 0 h 9598"/>
                  <a:gd name="connsiteX2" fmla="*/ 1200 w 9600"/>
                  <a:gd name="connsiteY2" fmla="*/ 400 h 9598"/>
                  <a:gd name="connsiteX3" fmla="*/ 800 w 9600"/>
                  <a:gd name="connsiteY3" fmla="*/ 400 h 9598"/>
                  <a:gd name="connsiteX4" fmla="*/ 0 w 9600"/>
                  <a:gd name="connsiteY4" fmla="*/ 2397 h 9598"/>
                  <a:gd name="connsiteX5" fmla="*/ 800 w 9600"/>
                  <a:gd name="connsiteY5" fmla="*/ 3599 h 9598"/>
                  <a:gd name="connsiteX6" fmla="*/ 400 w 9600"/>
                  <a:gd name="connsiteY6" fmla="*/ 3998 h 9598"/>
                  <a:gd name="connsiteX7" fmla="*/ 1200 w 9600"/>
                  <a:gd name="connsiteY7" fmla="*/ 4798 h 9598"/>
                  <a:gd name="connsiteX8" fmla="*/ 1200 w 9600"/>
                  <a:gd name="connsiteY8" fmla="*/ 5597 h 9598"/>
                  <a:gd name="connsiteX9" fmla="*/ 2000 w 9600"/>
                  <a:gd name="connsiteY9" fmla="*/ 5999 h 9598"/>
                  <a:gd name="connsiteX10" fmla="*/ 4000 w 9600"/>
                  <a:gd name="connsiteY10" fmla="*/ 8397 h 9598"/>
                  <a:gd name="connsiteX11" fmla="*/ 4400 w 9600"/>
                  <a:gd name="connsiteY11" fmla="*/ 8797 h 9598"/>
                  <a:gd name="connsiteX12" fmla="*/ 5200 w 9600"/>
                  <a:gd name="connsiteY12" fmla="*/ 8797 h 9598"/>
                  <a:gd name="connsiteX13" fmla="*/ 6001 w 9600"/>
                  <a:gd name="connsiteY13" fmla="*/ 9598 h 9598"/>
                  <a:gd name="connsiteX14" fmla="*/ 6800 w 9600"/>
                  <a:gd name="connsiteY14" fmla="*/ 9598 h 9598"/>
                  <a:gd name="connsiteX15" fmla="*/ 8000 w 9600"/>
                  <a:gd name="connsiteY15" fmla="*/ 9199 h 9598"/>
                  <a:gd name="connsiteX16" fmla="*/ 8400 w 9600"/>
                  <a:gd name="connsiteY16" fmla="*/ 8797 h 9598"/>
                  <a:gd name="connsiteX17" fmla="*/ 9201 w 9600"/>
                  <a:gd name="connsiteY17" fmla="*/ 8797 h 9598"/>
                  <a:gd name="connsiteX18" fmla="*/ 9201 w 9600"/>
                  <a:gd name="connsiteY18" fmla="*/ 8397 h 9598"/>
                  <a:gd name="connsiteX19" fmla="*/ 8800 w 9600"/>
                  <a:gd name="connsiteY19" fmla="*/ 7997 h 9598"/>
                  <a:gd name="connsiteX20" fmla="*/ 8000 w 9600"/>
                  <a:gd name="connsiteY20" fmla="*/ 6797 h 9598"/>
                  <a:gd name="connsiteX21" fmla="*/ 7600 w 9600"/>
                  <a:gd name="connsiteY21" fmla="*/ 6398 h 9598"/>
                  <a:gd name="connsiteX22" fmla="*/ 7600 w 9600"/>
                  <a:gd name="connsiteY22" fmla="*/ 5999 h 9598"/>
                  <a:gd name="connsiteX23" fmla="*/ 8000 w 9600"/>
                  <a:gd name="connsiteY23" fmla="*/ 5999 h 9598"/>
                  <a:gd name="connsiteX24" fmla="*/ 8400 w 9600"/>
                  <a:gd name="connsiteY24" fmla="*/ 4396 h 9598"/>
                  <a:gd name="connsiteX25" fmla="*/ 9600 w 9600"/>
                  <a:gd name="connsiteY25" fmla="*/ 2397 h 9598"/>
                  <a:gd name="connsiteX26" fmla="*/ 9600 w 9600"/>
                  <a:gd name="connsiteY26" fmla="*/ 1600 h 9598"/>
                  <a:gd name="connsiteX0" fmla="*/ 10000 w 10000"/>
                  <a:gd name="connsiteY0" fmla="*/ 2497 h 10000"/>
                  <a:gd name="connsiteX1" fmla="*/ 1250 w 10000"/>
                  <a:gd name="connsiteY1" fmla="*/ 0 h 10000"/>
                  <a:gd name="connsiteX2" fmla="*/ 1250 w 10000"/>
                  <a:gd name="connsiteY2" fmla="*/ 417 h 10000"/>
                  <a:gd name="connsiteX3" fmla="*/ 833 w 10000"/>
                  <a:gd name="connsiteY3" fmla="*/ 417 h 10000"/>
                  <a:gd name="connsiteX4" fmla="*/ 0 w 10000"/>
                  <a:gd name="connsiteY4" fmla="*/ 2497 h 10000"/>
                  <a:gd name="connsiteX5" fmla="*/ 833 w 10000"/>
                  <a:gd name="connsiteY5" fmla="*/ 3750 h 10000"/>
                  <a:gd name="connsiteX6" fmla="*/ 417 w 10000"/>
                  <a:gd name="connsiteY6" fmla="*/ 4165 h 10000"/>
                  <a:gd name="connsiteX7" fmla="*/ 1250 w 10000"/>
                  <a:gd name="connsiteY7" fmla="*/ 4999 h 10000"/>
                  <a:gd name="connsiteX8" fmla="*/ 1250 w 10000"/>
                  <a:gd name="connsiteY8" fmla="*/ 5831 h 10000"/>
                  <a:gd name="connsiteX9" fmla="*/ 2083 w 10000"/>
                  <a:gd name="connsiteY9" fmla="*/ 6250 h 10000"/>
                  <a:gd name="connsiteX10" fmla="*/ 4167 w 10000"/>
                  <a:gd name="connsiteY10" fmla="*/ 8749 h 10000"/>
                  <a:gd name="connsiteX11" fmla="*/ 4583 w 10000"/>
                  <a:gd name="connsiteY11" fmla="*/ 9165 h 10000"/>
                  <a:gd name="connsiteX12" fmla="*/ 5417 w 10000"/>
                  <a:gd name="connsiteY12" fmla="*/ 9165 h 10000"/>
                  <a:gd name="connsiteX13" fmla="*/ 6251 w 10000"/>
                  <a:gd name="connsiteY13" fmla="*/ 10000 h 10000"/>
                  <a:gd name="connsiteX14" fmla="*/ 7083 w 10000"/>
                  <a:gd name="connsiteY14" fmla="*/ 10000 h 10000"/>
                  <a:gd name="connsiteX15" fmla="*/ 8333 w 10000"/>
                  <a:gd name="connsiteY15" fmla="*/ 9584 h 10000"/>
                  <a:gd name="connsiteX16" fmla="*/ 8750 w 10000"/>
                  <a:gd name="connsiteY16" fmla="*/ 9165 h 10000"/>
                  <a:gd name="connsiteX17" fmla="*/ 9584 w 10000"/>
                  <a:gd name="connsiteY17" fmla="*/ 9165 h 10000"/>
                  <a:gd name="connsiteX18" fmla="*/ 9584 w 10000"/>
                  <a:gd name="connsiteY18" fmla="*/ 8749 h 10000"/>
                  <a:gd name="connsiteX19" fmla="*/ 9167 w 10000"/>
                  <a:gd name="connsiteY19" fmla="*/ 8332 h 10000"/>
                  <a:gd name="connsiteX20" fmla="*/ 8333 w 10000"/>
                  <a:gd name="connsiteY20" fmla="*/ 7082 h 10000"/>
                  <a:gd name="connsiteX21" fmla="*/ 7917 w 10000"/>
                  <a:gd name="connsiteY21" fmla="*/ 6666 h 10000"/>
                  <a:gd name="connsiteX22" fmla="*/ 7917 w 10000"/>
                  <a:gd name="connsiteY22" fmla="*/ 6250 h 10000"/>
                  <a:gd name="connsiteX23" fmla="*/ 8333 w 10000"/>
                  <a:gd name="connsiteY23" fmla="*/ 6250 h 10000"/>
                  <a:gd name="connsiteX24" fmla="*/ 8750 w 10000"/>
                  <a:gd name="connsiteY24" fmla="*/ 4580 h 10000"/>
                  <a:gd name="connsiteX25" fmla="*/ 10000 w 10000"/>
                  <a:gd name="connsiteY25" fmla="*/ 2497 h 10000"/>
                  <a:gd name="connsiteX0" fmla="*/ 8750 w 9584"/>
                  <a:gd name="connsiteY0" fmla="*/ 4580 h 10000"/>
                  <a:gd name="connsiteX1" fmla="*/ 1250 w 9584"/>
                  <a:gd name="connsiteY1" fmla="*/ 0 h 10000"/>
                  <a:gd name="connsiteX2" fmla="*/ 1250 w 9584"/>
                  <a:gd name="connsiteY2" fmla="*/ 417 h 10000"/>
                  <a:gd name="connsiteX3" fmla="*/ 833 w 9584"/>
                  <a:gd name="connsiteY3" fmla="*/ 417 h 10000"/>
                  <a:gd name="connsiteX4" fmla="*/ 0 w 9584"/>
                  <a:gd name="connsiteY4" fmla="*/ 2497 h 10000"/>
                  <a:gd name="connsiteX5" fmla="*/ 833 w 9584"/>
                  <a:gd name="connsiteY5" fmla="*/ 3750 h 10000"/>
                  <a:gd name="connsiteX6" fmla="*/ 417 w 9584"/>
                  <a:gd name="connsiteY6" fmla="*/ 4165 h 10000"/>
                  <a:gd name="connsiteX7" fmla="*/ 1250 w 9584"/>
                  <a:gd name="connsiteY7" fmla="*/ 4999 h 10000"/>
                  <a:gd name="connsiteX8" fmla="*/ 1250 w 9584"/>
                  <a:gd name="connsiteY8" fmla="*/ 5831 h 10000"/>
                  <a:gd name="connsiteX9" fmla="*/ 2083 w 9584"/>
                  <a:gd name="connsiteY9" fmla="*/ 6250 h 10000"/>
                  <a:gd name="connsiteX10" fmla="*/ 4167 w 9584"/>
                  <a:gd name="connsiteY10" fmla="*/ 8749 h 10000"/>
                  <a:gd name="connsiteX11" fmla="*/ 4583 w 9584"/>
                  <a:gd name="connsiteY11" fmla="*/ 9165 h 10000"/>
                  <a:gd name="connsiteX12" fmla="*/ 5417 w 9584"/>
                  <a:gd name="connsiteY12" fmla="*/ 9165 h 10000"/>
                  <a:gd name="connsiteX13" fmla="*/ 6251 w 9584"/>
                  <a:gd name="connsiteY13" fmla="*/ 10000 h 10000"/>
                  <a:gd name="connsiteX14" fmla="*/ 7083 w 9584"/>
                  <a:gd name="connsiteY14" fmla="*/ 10000 h 10000"/>
                  <a:gd name="connsiteX15" fmla="*/ 8333 w 9584"/>
                  <a:gd name="connsiteY15" fmla="*/ 9584 h 10000"/>
                  <a:gd name="connsiteX16" fmla="*/ 8750 w 9584"/>
                  <a:gd name="connsiteY16" fmla="*/ 9165 h 10000"/>
                  <a:gd name="connsiteX17" fmla="*/ 9584 w 9584"/>
                  <a:gd name="connsiteY17" fmla="*/ 9165 h 10000"/>
                  <a:gd name="connsiteX18" fmla="*/ 9584 w 9584"/>
                  <a:gd name="connsiteY18" fmla="*/ 8749 h 10000"/>
                  <a:gd name="connsiteX19" fmla="*/ 9167 w 9584"/>
                  <a:gd name="connsiteY19" fmla="*/ 8332 h 10000"/>
                  <a:gd name="connsiteX20" fmla="*/ 8333 w 9584"/>
                  <a:gd name="connsiteY20" fmla="*/ 7082 h 10000"/>
                  <a:gd name="connsiteX21" fmla="*/ 7917 w 9584"/>
                  <a:gd name="connsiteY21" fmla="*/ 6666 h 10000"/>
                  <a:gd name="connsiteX22" fmla="*/ 7917 w 9584"/>
                  <a:gd name="connsiteY22" fmla="*/ 6250 h 10000"/>
                  <a:gd name="connsiteX23" fmla="*/ 8333 w 9584"/>
                  <a:gd name="connsiteY23" fmla="*/ 6250 h 10000"/>
                  <a:gd name="connsiteX24" fmla="*/ 8750 w 9584"/>
                  <a:gd name="connsiteY24" fmla="*/ 4580 h 10000"/>
                  <a:gd name="connsiteX0" fmla="*/ 9130 w 10000"/>
                  <a:gd name="connsiteY0" fmla="*/ 4580 h 10000"/>
                  <a:gd name="connsiteX1" fmla="*/ 1304 w 10000"/>
                  <a:gd name="connsiteY1" fmla="*/ 0 h 10000"/>
                  <a:gd name="connsiteX2" fmla="*/ 1304 w 10000"/>
                  <a:gd name="connsiteY2" fmla="*/ 417 h 10000"/>
                  <a:gd name="connsiteX3" fmla="*/ 0 w 10000"/>
                  <a:gd name="connsiteY3" fmla="*/ 2497 h 10000"/>
                  <a:gd name="connsiteX4" fmla="*/ 869 w 10000"/>
                  <a:gd name="connsiteY4" fmla="*/ 3750 h 10000"/>
                  <a:gd name="connsiteX5" fmla="*/ 435 w 10000"/>
                  <a:gd name="connsiteY5" fmla="*/ 4165 h 10000"/>
                  <a:gd name="connsiteX6" fmla="*/ 1304 w 10000"/>
                  <a:gd name="connsiteY6" fmla="*/ 4999 h 10000"/>
                  <a:gd name="connsiteX7" fmla="*/ 1304 w 10000"/>
                  <a:gd name="connsiteY7" fmla="*/ 5831 h 10000"/>
                  <a:gd name="connsiteX8" fmla="*/ 2173 w 10000"/>
                  <a:gd name="connsiteY8" fmla="*/ 6250 h 10000"/>
                  <a:gd name="connsiteX9" fmla="*/ 4348 w 10000"/>
                  <a:gd name="connsiteY9" fmla="*/ 8749 h 10000"/>
                  <a:gd name="connsiteX10" fmla="*/ 4782 w 10000"/>
                  <a:gd name="connsiteY10" fmla="*/ 9165 h 10000"/>
                  <a:gd name="connsiteX11" fmla="*/ 5652 w 10000"/>
                  <a:gd name="connsiteY11" fmla="*/ 9165 h 10000"/>
                  <a:gd name="connsiteX12" fmla="*/ 6522 w 10000"/>
                  <a:gd name="connsiteY12" fmla="*/ 10000 h 10000"/>
                  <a:gd name="connsiteX13" fmla="*/ 7390 w 10000"/>
                  <a:gd name="connsiteY13" fmla="*/ 10000 h 10000"/>
                  <a:gd name="connsiteX14" fmla="*/ 8695 w 10000"/>
                  <a:gd name="connsiteY14" fmla="*/ 9584 h 10000"/>
                  <a:gd name="connsiteX15" fmla="*/ 9130 w 10000"/>
                  <a:gd name="connsiteY15" fmla="*/ 9165 h 10000"/>
                  <a:gd name="connsiteX16" fmla="*/ 10000 w 10000"/>
                  <a:gd name="connsiteY16" fmla="*/ 9165 h 10000"/>
                  <a:gd name="connsiteX17" fmla="*/ 10000 w 10000"/>
                  <a:gd name="connsiteY17" fmla="*/ 8749 h 10000"/>
                  <a:gd name="connsiteX18" fmla="*/ 9565 w 10000"/>
                  <a:gd name="connsiteY18" fmla="*/ 8332 h 10000"/>
                  <a:gd name="connsiteX19" fmla="*/ 8695 w 10000"/>
                  <a:gd name="connsiteY19" fmla="*/ 7082 h 10000"/>
                  <a:gd name="connsiteX20" fmla="*/ 8261 w 10000"/>
                  <a:gd name="connsiteY20" fmla="*/ 6666 h 10000"/>
                  <a:gd name="connsiteX21" fmla="*/ 8261 w 10000"/>
                  <a:gd name="connsiteY21" fmla="*/ 6250 h 10000"/>
                  <a:gd name="connsiteX22" fmla="*/ 8695 w 10000"/>
                  <a:gd name="connsiteY22" fmla="*/ 6250 h 10000"/>
                  <a:gd name="connsiteX23" fmla="*/ 9130 w 10000"/>
                  <a:gd name="connsiteY23" fmla="*/ 4580 h 10000"/>
                  <a:gd name="connsiteX0" fmla="*/ 9130 w 10000"/>
                  <a:gd name="connsiteY0" fmla="*/ 4163 h 9583"/>
                  <a:gd name="connsiteX1" fmla="*/ 1304 w 10000"/>
                  <a:gd name="connsiteY1" fmla="*/ 0 h 9583"/>
                  <a:gd name="connsiteX2" fmla="*/ 0 w 10000"/>
                  <a:gd name="connsiteY2" fmla="*/ 2080 h 9583"/>
                  <a:gd name="connsiteX3" fmla="*/ 869 w 10000"/>
                  <a:gd name="connsiteY3" fmla="*/ 3333 h 9583"/>
                  <a:gd name="connsiteX4" fmla="*/ 435 w 10000"/>
                  <a:gd name="connsiteY4" fmla="*/ 3748 h 9583"/>
                  <a:gd name="connsiteX5" fmla="*/ 1304 w 10000"/>
                  <a:gd name="connsiteY5" fmla="*/ 4582 h 9583"/>
                  <a:gd name="connsiteX6" fmla="*/ 1304 w 10000"/>
                  <a:gd name="connsiteY6" fmla="*/ 5414 h 9583"/>
                  <a:gd name="connsiteX7" fmla="*/ 2173 w 10000"/>
                  <a:gd name="connsiteY7" fmla="*/ 5833 h 9583"/>
                  <a:gd name="connsiteX8" fmla="*/ 4348 w 10000"/>
                  <a:gd name="connsiteY8" fmla="*/ 8332 h 9583"/>
                  <a:gd name="connsiteX9" fmla="*/ 4782 w 10000"/>
                  <a:gd name="connsiteY9" fmla="*/ 8748 h 9583"/>
                  <a:gd name="connsiteX10" fmla="*/ 5652 w 10000"/>
                  <a:gd name="connsiteY10" fmla="*/ 8748 h 9583"/>
                  <a:gd name="connsiteX11" fmla="*/ 6522 w 10000"/>
                  <a:gd name="connsiteY11" fmla="*/ 9583 h 9583"/>
                  <a:gd name="connsiteX12" fmla="*/ 7390 w 10000"/>
                  <a:gd name="connsiteY12" fmla="*/ 9583 h 9583"/>
                  <a:gd name="connsiteX13" fmla="*/ 8695 w 10000"/>
                  <a:gd name="connsiteY13" fmla="*/ 9167 h 9583"/>
                  <a:gd name="connsiteX14" fmla="*/ 9130 w 10000"/>
                  <a:gd name="connsiteY14" fmla="*/ 8748 h 9583"/>
                  <a:gd name="connsiteX15" fmla="*/ 10000 w 10000"/>
                  <a:gd name="connsiteY15" fmla="*/ 8748 h 9583"/>
                  <a:gd name="connsiteX16" fmla="*/ 10000 w 10000"/>
                  <a:gd name="connsiteY16" fmla="*/ 8332 h 9583"/>
                  <a:gd name="connsiteX17" fmla="*/ 9565 w 10000"/>
                  <a:gd name="connsiteY17" fmla="*/ 7915 h 9583"/>
                  <a:gd name="connsiteX18" fmla="*/ 8695 w 10000"/>
                  <a:gd name="connsiteY18" fmla="*/ 6665 h 9583"/>
                  <a:gd name="connsiteX19" fmla="*/ 8261 w 10000"/>
                  <a:gd name="connsiteY19" fmla="*/ 6249 h 9583"/>
                  <a:gd name="connsiteX20" fmla="*/ 8261 w 10000"/>
                  <a:gd name="connsiteY20" fmla="*/ 5833 h 9583"/>
                  <a:gd name="connsiteX21" fmla="*/ 8695 w 10000"/>
                  <a:gd name="connsiteY21" fmla="*/ 5833 h 9583"/>
                  <a:gd name="connsiteX22" fmla="*/ 9130 w 10000"/>
                  <a:gd name="connsiteY22" fmla="*/ 4163 h 9583"/>
                  <a:gd name="connsiteX0" fmla="*/ 9130 w 10000"/>
                  <a:gd name="connsiteY0" fmla="*/ 2173 h 7829"/>
                  <a:gd name="connsiteX1" fmla="*/ 0 w 10000"/>
                  <a:gd name="connsiteY1" fmla="*/ 0 h 7829"/>
                  <a:gd name="connsiteX2" fmla="*/ 869 w 10000"/>
                  <a:gd name="connsiteY2" fmla="*/ 1307 h 7829"/>
                  <a:gd name="connsiteX3" fmla="*/ 435 w 10000"/>
                  <a:gd name="connsiteY3" fmla="*/ 1740 h 7829"/>
                  <a:gd name="connsiteX4" fmla="*/ 1304 w 10000"/>
                  <a:gd name="connsiteY4" fmla="*/ 2610 h 7829"/>
                  <a:gd name="connsiteX5" fmla="*/ 1304 w 10000"/>
                  <a:gd name="connsiteY5" fmla="*/ 3479 h 7829"/>
                  <a:gd name="connsiteX6" fmla="*/ 2173 w 10000"/>
                  <a:gd name="connsiteY6" fmla="*/ 3916 h 7829"/>
                  <a:gd name="connsiteX7" fmla="*/ 4348 w 10000"/>
                  <a:gd name="connsiteY7" fmla="*/ 6524 h 7829"/>
                  <a:gd name="connsiteX8" fmla="*/ 4782 w 10000"/>
                  <a:gd name="connsiteY8" fmla="*/ 6958 h 7829"/>
                  <a:gd name="connsiteX9" fmla="*/ 5652 w 10000"/>
                  <a:gd name="connsiteY9" fmla="*/ 6958 h 7829"/>
                  <a:gd name="connsiteX10" fmla="*/ 6522 w 10000"/>
                  <a:gd name="connsiteY10" fmla="*/ 7829 h 7829"/>
                  <a:gd name="connsiteX11" fmla="*/ 7390 w 10000"/>
                  <a:gd name="connsiteY11" fmla="*/ 7829 h 7829"/>
                  <a:gd name="connsiteX12" fmla="*/ 8695 w 10000"/>
                  <a:gd name="connsiteY12" fmla="*/ 7395 h 7829"/>
                  <a:gd name="connsiteX13" fmla="*/ 9130 w 10000"/>
                  <a:gd name="connsiteY13" fmla="*/ 6958 h 7829"/>
                  <a:gd name="connsiteX14" fmla="*/ 10000 w 10000"/>
                  <a:gd name="connsiteY14" fmla="*/ 6958 h 7829"/>
                  <a:gd name="connsiteX15" fmla="*/ 10000 w 10000"/>
                  <a:gd name="connsiteY15" fmla="*/ 6524 h 7829"/>
                  <a:gd name="connsiteX16" fmla="*/ 9565 w 10000"/>
                  <a:gd name="connsiteY16" fmla="*/ 6088 h 7829"/>
                  <a:gd name="connsiteX17" fmla="*/ 8695 w 10000"/>
                  <a:gd name="connsiteY17" fmla="*/ 4784 h 7829"/>
                  <a:gd name="connsiteX18" fmla="*/ 8261 w 10000"/>
                  <a:gd name="connsiteY18" fmla="*/ 4350 h 7829"/>
                  <a:gd name="connsiteX19" fmla="*/ 8261 w 10000"/>
                  <a:gd name="connsiteY19" fmla="*/ 3916 h 7829"/>
                  <a:gd name="connsiteX20" fmla="*/ 8695 w 10000"/>
                  <a:gd name="connsiteY20" fmla="*/ 3916 h 7829"/>
                  <a:gd name="connsiteX21" fmla="*/ 9130 w 10000"/>
                  <a:gd name="connsiteY21" fmla="*/ 2173 h 7829"/>
                  <a:gd name="connsiteX0" fmla="*/ 8695 w 9565"/>
                  <a:gd name="connsiteY0" fmla="*/ 1107 h 8331"/>
                  <a:gd name="connsiteX1" fmla="*/ 434 w 9565"/>
                  <a:gd name="connsiteY1" fmla="*/ 0 h 8331"/>
                  <a:gd name="connsiteX2" fmla="*/ 0 w 9565"/>
                  <a:gd name="connsiteY2" fmla="*/ 554 h 8331"/>
                  <a:gd name="connsiteX3" fmla="*/ 869 w 9565"/>
                  <a:gd name="connsiteY3" fmla="*/ 1665 h 8331"/>
                  <a:gd name="connsiteX4" fmla="*/ 869 w 9565"/>
                  <a:gd name="connsiteY4" fmla="*/ 2775 h 8331"/>
                  <a:gd name="connsiteX5" fmla="*/ 1738 w 9565"/>
                  <a:gd name="connsiteY5" fmla="*/ 3333 h 8331"/>
                  <a:gd name="connsiteX6" fmla="*/ 3913 w 9565"/>
                  <a:gd name="connsiteY6" fmla="*/ 6664 h 8331"/>
                  <a:gd name="connsiteX7" fmla="*/ 4347 w 9565"/>
                  <a:gd name="connsiteY7" fmla="*/ 7218 h 8331"/>
                  <a:gd name="connsiteX8" fmla="*/ 5217 w 9565"/>
                  <a:gd name="connsiteY8" fmla="*/ 7218 h 8331"/>
                  <a:gd name="connsiteX9" fmla="*/ 6087 w 9565"/>
                  <a:gd name="connsiteY9" fmla="*/ 8331 h 8331"/>
                  <a:gd name="connsiteX10" fmla="*/ 6955 w 9565"/>
                  <a:gd name="connsiteY10" fmla="*/ 8331 h 8331"/>
                  <a:gd name="connsiteX11" fmla="*/ 8260 w 9565"/>
                  <a:gd name="connsiteY11" fmla="*/ 7777 h 8331"/>
                  <a:gd name="connsiteX12" fmla="*/ 8695 w 9565"/>
                  <a:gd name="connsiteY12" fmla="*/ 7218 h 8331"/>
                  <a:gd name="connsiteX13" fmla="*/ 9565 w 9565"/>
                  <a:gd name="connsiteY13" fmla="*/ 7218 h 8331"/>
                  <a:gd name="connsiteX14" fmla="*/ 9565 w 9565"/>
                  <a:gd name="connsiteY14" fmla="*/ 6664 h 8331"/>
                  <a:gd name="connsiteX15" fmla="*/ 9130 w 9565"/>
                  <a:gd name="connsiteY15" fmla="*/ 6107 h 8331"/>
                  <a:gd name="connsiteX16" fmla="*/ 8260 w 9565"/>
                  <a:gd name="connsiteY16" fmla="*/ 4442 h 8331"/>
                  <a:gd name="connsiteX17" fmla="*/ 7826 w 9565"/>
                  <a:gd name="connsiteY17" fmla="*/ 3887 h 8331"/>
                  <a:gd name="connsiteX18" fmla="*/ 7826 w 9565"/>
                  <a:gd name="connsiteY18" fmla="*/ 3333 h 8331"/>
                  <a:gd name="connsiteX19" fmla="*/ 8260 w 9565"/>
                  <a:gd name="connsiteY19" fmla="*/ 3333 h 8331"/>
                  <a:gd name="connsiteX20" fmla="*/ 8695 w 9565"/>
                  <a:gd name="connsiteY20" fmla="*/ 1107 h 8331"/>
                  <a:gd name="connsiteX0" fmla="*/ 9090 w 10000"/>
                  <a:gd name="connsiteY0" fmla="*/ 1329 h 10000"/>
                  <a:gd name="connsiteX1" fmla="*/ 454 w 10000"/>
                  <a:gd name="connsiteY1" fmla="*/ 0 h 10000"/>
                  <a:gd name="connsiteX2" fmla="*/ 0 w 10000"/>
                  <a:gd name="connsiteY2" fmla="*/ 665 h 10000"/>
                  <a:gd name="connsiteX3" fmla="*/ 909 w 10000"/>
                  <a:gd name="connsiteY3" fmla="*/ 1999 h 10000"/>
                  <a:gd name="connsiteX4" fmla="*/ 1535 w 10000"/>
                  <a:gd name="connsiteY4" fmla="*/ 3331 h 10000"/>
                  <a:gd name="connsiteX5" fmla="*/ 1817 w 10000"/>
                  <a:gd name="connsiteY5" fmla="*/ 4001 h 10000"/>
                  <a:gd name="connsiteX6" fmla="*/ 4091 w 10000"/>
                  <a:gd name="connsiteY6" fmla="*/ 7999 h 10000"/>
                  <a:gd name="connsiteX7" fmla="*/ 4545 w 10000"/>
                  <a:gd name="connsiteY7" fmla="*/ 8664 h 10000"/>
                  <a:gd name="connsiteX8" fmla="*/ 5454 w 10000"/>
                  <a:gd name="connsiteY8" fmla="*/ 8664 h 10000"/>
                  <a:gd name="connsiteX9" fmla="*/ 6364 w 10000"/>
                  <a:gd name="connsiteY9" fmla="*/ 10000 h 10000"/>
                  <a:gd name="connsiteX10" fmla="*/ 7271 w 10000"/>
                  <a:gd name="connsiteY10" fmla="*/ 10000 h 10000"/>
                  <a:gd name="connsiteX11" fmla="*/ 8636 w 10000"/>
                  <a:gd name="connsiteY11" fmla="*/ 9335 h 10000"/>
                  <a:gd name="connsiteX12" fmla="*/ 9090 w 10000"/>
                  <a:gd name="connsiteY12" fmla="*/ 8664 h 10000"/>
                  <a:gd name="connsiteX13" fmla="*/ 10000 w 10000"/>
                  <a:gd name="connsiteY13" fmla="*/ 8664 h 10000"/>
                  <a:gd name="connsiteX14" fmla="*/ 10000 w 10000"/>
                  <a:gd name="connsiteY14" fmla="*/ 7999 h 10000"/>
                  <a:gd name="connsiteX15" fmla="*/ 9545 w 10000"/>
                  <a:gd name="connsiteY15" fmla="*/ 7330 h 10000"/>
                  <a:gd name="connsiteX16" fmla="*/ 8636 w 10000"/>
                  <a:gd name="connsiteY16" fmla="*/ 5332 h 10000"/>
                  <a:gd name="connsiteX17" fmla="*/ 8182 w 10000"/>
                  <a:gd name="connsiteY17" fmla="*/ 4666 h 10000"/>
                  <a:gd name="connsiteX18" fmla="*/ 8182 w 10000"/>
                  <a:gd name="connsiteY18" fmla="*/ 4001 h 10000"/>
                  <a:gd name="connsiteX19" fmla="*/ 8636 w 10000"/>
                  <a:gd name="connsiteY19" fmla="*/ 4001 h 10000"/>
                  <a:gd name="connsiteX20" fmla="*/ 9090 w 10000"/>
                  <a:gd name="connsiteY20" fmla="*/ 1329 h 10000"/>
                  <a:gd name="connsiteX0" fmla="*/ 9090 w 10000"/>
                  <a:gd name="connsiteY0" fmla="*/ 1329 h 10000"/>
                  <a:gd name="connsiteX1" fmla="*/ 454 w 10000"/>
                  <a:gd name="connsiteY1" fmla="*/ 0 h 10000"/>
                  <a:gd name="connsiteX2" fmla="*/ 0 w 10000"/>
                  <a:gd name="connsiteY2" fmla="*/ 665 h 10000"/>
                  <a:gd name="connsiteX3" fmla="*/ 1973 w 10000"/>
                  <a:gd name="connsiteY3" fmla="*/ 1352 h 10000"/>
                  <a:gd name="connsiteX4" fmla="*/ 1535 w 10000"/>
                  <a:gd name="connsiteY4" fmla="*/ 3331 h 10000"/>
                  <a:gd name="connsiteX5" fmla="*/ 1817 w 10000"/>
                  <a:gd name="connsiteY5" fmla="*/ 4001 h 10000"/>
                  <a:gd name="connsiteX6" fmla="*/ 4091 w 10000"/>
                  <a:gd name="connsiteY6" fmla="*/ 7999 h 10000"/>
                  <a:gd name="connsiteX7" fmla="*/ 4545 w 10000"/>
                  <a:gd name="connsiteY7" fmla="*/ 8664 h 10000"/>
                  <a:gd name="connsiteX8" fmla="*/ 5454 w 10000"/>
                  <a:gd name="connsiteY8" fmla="*/ 8664 h 10000"/>
                  <a:gd name="connsiteX9" fmla="*/ 6364 w 10000"/>
                  <a:gd name="connsiteY9" fmla="*/ 10000 h 10000"/>
                  <a:gd name="connsiteX10" fmla="*/ 7271 w 10000"/>
                  <a:gd name="connsiteY10" fmla="*/ 10000 h 10000"/>
                  <a:gd name="connsiteX11" fmla="*/ 8636 w 10000"/>
                  <a:gd name="connsiteY11" fmla="*/ 9335 h 10000"/>
                  <a:gd name="connsiteX12" fmla="*/ 9090 w 10000"/>
                  <a:gd name="connsiteY12" fmla="*/ 8664 h 10000"/>
                  <a:gd name="connsiteX13" fmla="*/ 10000 w 10000"/>
                  <a:gd name="connsiteY13" fmla="*/ 8664 h 10000"/>
                  <a:gd name="connsiteX14" fmla="*/ 10000 w 10000"/>
                  <a:gd name="connsiteY14" fmla="*/ 7999 h 10000"/>
                  <a:gd name="connsiteX15" fmla="*/ 9545 w 10000"/>
                  <a:gd name="connsiteY15" fmla="*/ 7330 h 10000"/>
                  <a:gd name="connsiteX16" fmla="*/ 8636 w 10000"/>
                  <a:gd name="connsiteY16" fmla="*/ 5332 h 10000"/>
                  <a:gd name="connsiteX17" fmla="*/ 8182 w 10000"/>
                  <a:gd name="connsiteY17" fmla="*/ 4666 h 10000"/>
                  <a:gd name="connsiteX18" fmla="*/ 8182 w 10000"/>
                  <a:gd name="connsiteY18" fmla="*/ 4001 h 10000"/>
                  <a:gd name="connsiteX19" fmla="*/ 8636 w 10000"/>
                  <a:gd name="connsiteY19" fmla="*/ 4001 h 10000"/>
                  <a:gd name="connsiteX20" fmla="*/ 9090 w 10000"/>
                  <a:gd name="connsiteY20" fmla="*/ 1329 h 10000"/>
                  <a:gd name="connsiteX0" fmla="*/ 8636 w 9546"/>
                  <a:gd name="connsiteY0" fmla="*/ 1329 h 10000"/>
                  <a:gd name="connsiteX1" fmla="*/ 0 w 9546"/>
                  <a:gd name="connsiteY1" fmla="*/ 0 h 10000"/>
                  <a:gd name="connsiteX2" fmla="*/ 2301 w 9546"/>
                  <a:gd name="connsiteY2" fmla="*/ 1312 h 10000"/>
                  <a:gd name="connsiteX3" fmla="*/ 1519 w 9546"/>
                  <a:gd name="connsiteY3" fmla="*/ 1352 h 10000"/>
                  <a:gd name="connsiteX4" fmla="*/ 1081 w 9546"/>
                  <a:gd name="connsiteY4" fmla="*/ 3331 h 10000"/>
                  <a:gd name="connsiteX5" fmla="*/ 1363 w 9546"/>
                  <a:gd name="connsiteY5" fmla="*/ 4001 h 10000"/>
                  <a:gd name="connsiteX6" fmla="*/ 3637 w 9546"/>
                  <a:gd name="connsiteY6" fmla="*/ 7999 h 10000"/>
                  <a:gd name="connsiteX7" fmla="*/ 4091 w 9546"/>
                  <a:gd name="connsiteY7" fmla="*/ 8664 h 10000"/>
                  <a:gd name="connsiteX8" fmla="*/ 5000 w 9546"/>
                  <a:gd name="connsiteY8" fmla="*/ 8664 h 10000"/>
                  <a:gd name="connsiteX9" fmla="*/ 5910 w 9546"/>
                  <a:gd name="connsiteY9" fmla="*/ 10000 h 10000"/>
                  <a:gd name="connsiteX10" fmla="*/ 6817 w 9546"/>
                  <a:gd name="connsiteY10" fmla="*/ 10000 h 10000"/>
                  <a:gd name="connsiteX11" fmla="*/ 8182 w 9546"/>
                  <a:gd name="connsiteY11" fmla="*/ 9335 h 10000"/>
                  <a:gd name="connsiteX12" fmla="*/ 8636 w 9546"/>
                  <a:gd name="connsiteY12" fmla="*/ 8664 h 10000"/>
                  <a:gd name="connsiteX13" fmla="*/ 9546 w 9546"/>
                  <a:gd name="connsiteY13" fmla="*/ 8664 h 10000"/>
                  <a:gd name="connsiteX14" fmla="*/ 9546 w 9546"/>
                  <a:gd name="connsiteY14" fmla="*/ 7999 h 10000"/>
                  <a:gd name="connsiteX15" fmla="*/ 9091 w 9546"/>
                  <a:gd name="connsiteY15" fmla="*/ 7330 h 10000"/>
                  <a:gd name="connsiteX16" fmla="*/ 8182 w 9546"/>
                  <a:gd name="connsiteY16" fmla="*/ 5332 h 10000"/>
                  <a:gd name="connsiteX17" fmla="*/ 7728 w 9546"/>
                  <a:gd name="connsiteY17" fmla="*/ 4666 h 10000"/>
                  <a:gd name="connsiteX18" fmla="*/ 7728 w 9546"/>
                  <a:gd name="connsiteY18" fmla="*/ 4001 h 10000"/>
                  <a:gd name="connsiteX19" fmla="*/ 8182 w 9546"/>
                  <a:gd name="connsiteY19" fmla="*/ 4001 h 10000"/>
                  <a:gd name="connsiteX20" fmla="*/ 8636 w 9546"/>
                  <a:gd name="connsiteY20" fmla="*/ 1329 h 10000"/>
                  <a:gd name="connsiteX0" fmla="*/ 7915 w 8868"/>
                  <a:gd name="connsiteY0" fmla="*/ 17 h 8688"/>
                  <a:gd name="connsiteX1" fmla="*/ 1623 w 8868"/>
                  <a:gd name="connsiteY1" fmla="*/ 1169 h 8688"/>
                  <a:gd name="connsiteX2" fmla="*/ 1278 w 8868"/>
                  <a:gd name="connsiteY2" fmla="*/ 0 h 8688"/>
                  <a:gd name="connsiteX3" fmla="*/ 459 w 8868"/>
                  <a:gd name="connsiteY3" fmla="*/ 40 h 8688"/>
                  <a:gd name="connsiteX4" fmla="*/ 0 w 8868"/>
                  <a:gd name="connsiteY4" fmla="*/ 2019 h 8688"/>
                  <a:gd name="connsiteX5" fmla="*/ 296 w 8868"/>
                  <a:gd name="connsiteY5" fmla="*/ 2689 h 8688"/>
                  <a:gd name="connsiteX6" fmla="*/ 2678 w 8868"/>
                  <a:gd name="connsiteY6" fmla="*/ 6687 h 8688"/>
                  <a:gd name="connsiteX7" fmla="*/ 3154 w 8868"/>
                  <a:gd name="connsiteY7" fmla="*/ 7352 h 8688"/>
                  <a:gd name="connsiteX8" fmla="*/ 4106 w 8868"/>
                  <a:gd name="connsiteY8" fmla="*/ 7352 h 8688"/>
                  <a:gd name="connsiteX9" fmla="*/ 5059 w 8868"/>
                  <a:gd name="connsiteY9" fmla="*/ 8688 h 8688"/>
                  <a:gd name="connsiteX10" fmla="*/ 6009 w 8868"/>
                  <a:gd name="connsiteY10" fmla="*/ 8688 h 8688"/>
                  <a:gd name="connsiteX11" fmla="*/ 7439 w 8868"/>
                  <a:gd name="connsiteY11" fmla="*/ 8023 h 8688"/>
                  <a:gd name="connsiteX12" fmla="*/ 7915 w 8868"/>
                  <a:gd name="connsiteY12" fmla="*/ 7352 h 8688"/>
                  <a:gd name="connsiteX13" fmla="*/ 8868 w 8868"/>
                  <a:gd name="connsiteY13" fmla="*/ 7352 h 8688"/>
                  <a:gd name="connsiteX14" fmla="*/ 8868 w 8868"/>
                  <a:gd name="connsiteY14" fmla="*/ 6687 h 8688"/>
                  <a:gd name="connsiteX15" fmla="*/ 8391 w 8868"/>
                  <a:gd name="connsiteY15" fmla="*/ 6018 h 8688"/>
                  <a:gd name="connsiteX16" fmla="*/ 7439 w 8868"/>
                  <a:gd name="connsiteY16" fmla="*/ 4020 h 8688"/>
                  <a:gd name="connsiteX17" fmla="*/ 6964 w 8868"/>
                  <a:gd name="connsiteY17" fmla="*/ 3354 h 8688"/>
                  <a:gd name="connsiteX18" fmla="*/ 6964 w 8868"/>
                  <a:gd name="connsiteY18" fmla="*/ 2689 h 8688"/>
                  <a:gd name="connsiteX19" fmla="*/ 7439 w 8868"/>
                  <a:gd name="connsiteY19" fmla="*/ 2689 h 8688"/>
                  <a:gd name="connsiteX20" fmla="*/ 7915 w 8868"/>
                  <a:gd name="connsiteY20" fmla="*/ 17 h 8688"/>
                  <a:gd name="connsiteX0" fmla="*/ 8925 w 10000"/>
                  <a:gd name="connsiteY0" fmla="*/ 20 h 10000"/>
                  <a:gd name="connsiteX1" fmla="*/ 6896 w 10000"/>
                  <a:gd name="connsiteY1" fmla="*/ 522 h 10000"/>
                  <a:gd name="connsiteX2" fmla="*/ 1830 w 10000"/>
                  <a:gd name="connsiteY2" fmla="*/ 1346 h 10000"/>
                  <a:gd name="connsiteX3" fmla="*/ 1441 w 10000"/>
                  <a:gd name="connsiteY3" fmla="*/ 0 h 10000"/>
                  <a:gd name="connsiteX4" fmla="*/ 518 w 10000"/>
                  <a:gd name="connsiteY4" fmla="*/ 46 h 10000"/>
                  <a:gd name="connsiteX5" fmla="*/ 0 w 10000"/>
                  <a:gd name="connsiteY5" fmla="*/ 2324 h 10000"/>
                  <a:gd name="connsiteX6" fmla="*/ 334 w 10000"/>
                  <a:gd name="connsiteY6" fmla="*/ 3095 h 10000"/>
                  <a:gd name="connsiteX7" fmla="*/ 3020 w 10000"/>
                  <a:gd name="connsiteY7" fmla="*/ 7697 h 10000"/>
                  <a:gd name="connsiteX8" fmla="*/ 3557 w 10000"/>
                  <a:gd name="connsiteY8" fmla="*/ 8462 h 10000"/>
                  <a:gd name="connsiteX9" fmla="*/ 4630 w 10000"/>
                  <a:gd name="connsiteY9" fmla="*/ 8462 h 10000"/>
                  <a:gd name="connsiteX10" fmla="*/ 5705 w 10000"/>
                  <a:gd name="connsiteY10" fmla="*/ 10000 h 10000"/>
                  <a:gd name="connsiteX11" fmla="*/ 6776 w 10000"/>
                  <a:gd name="connsiteY11" fmla="*/ 10000 h 10000"/>
                  <a:gd name="connsiteX12" fmla="*/ 8389 w 10000"/>
                  <a:gd name="connsiteY12" fmla="*/ 9235 h 10000"/>
                  <a:gd name="connsiteX13" fmla="*/ 8925 w 10000"/>
                  <a:gd name="connsiteY13" fmla="*/ 8462 h 10000"/>
                  <a:gd name="connsiteX14" fmla="*/ 10000 w 10000"/>
                  <a:gd name="connsiteY14" fmla="*/ 8462 h 10000"/>
                  <a:gd name="connsiteX15" fmla="*/ 10000 w 10000"/>
                  <a:gd name="connsiteY15" fmla="*/ 7697 h 10000"/>
                  <a:gd name="connsiteX16" fmla="*/ 9462 w 10000"/>
                  <a:gd name="connsiteY16" fmla="*/ 6927 h 10000"/>
                  <a:gd name="connsiteX17" fmla="*/ 8389 w 10000"/>
                  <a:gd name="connsiteY17" fmla="*/ 4627 h 10000"/>
                  <a:gd name="connsiteX18" fmla="*/ 7853 w 10000"/>
                  <a:gd name="connsiteY18" fmla="*/ 3860 h 10000"/>
                  <a:gd name="connsiteX19" fmla="*/ 7853 w 10000"/>
                  <a:gd name="connsiteY19" fmla="*/ 3095 h 10000"/>
                  <a:gd name="connsiteX20" fmla="*/ 8389 w 10000"/>
                  <a:gd name="connsiteY20" fmla="*/ 3095 h 10000"/>
                  <a:gd name="connsiteX21" fmla="*/ 8925 w 10000"/>
                  <a:gd name="connsiteY21" fmla="*/ 20 h 10000"/>
                  <a:gd name="connsiteX0" fmla="*/ 8925 w 10000"/>
                  <a:gd name="connsiteY0" fmla="*/ 20 h 10000"/>
                  <a:gd name="connsiteX1" fmla="*/ 4973 w 10000"/>
                  <a:gd name="connsiteY1" fmla="*/ 150 h 10000"/>
                  <a:gd name="connsiteX2" fmla="*/ 1830 w 10000"/>
                  <a:gd name="connsiteY2" fmla="*/ 1346 h 10000"/>
                  <a:gd name="connsiteX3" fmla="*/ 1441 w 10000"/>
                  <a:gd name="connsiteY3" fmla="*/ 0 h 10000"/>
                  <a:gd name="connsiteX4" fmla="*/ 518 w 10000"/>
                  <a:gd name="connsiteY4" fmla="*/ 46 h 10000"/>
                  <a:gd name="connsiteX5" fmla="*/ 0 w 10000"/>
                  <a:gd name="connsiteY5" fmla="*/ 2324 h 10000"/>
                  <a:gd name="connsiteX6" fmla="*/ 334 w 10000"/>
                  <a:gd name="connsiteY6" fmla="*/ 3095 h 10000"/>
                  <a:gd name="connsiteX7" fmla="*/ 3020 w 10000"/>
                  <a:gd name="connsiteY7" fmla="*/ 7697 h 10000"/>
                  <a:gd name="connsiteX8" fmla="*/ 3557 w 10000"/>
                  <a:gd name="connsiteY8" fmla="*/ 8462 h 10000"/>
                  <a:gd name="connsiteX9" fmla="*/ 4630 w 10000"/>
                  <a:gd name="connsiteY9" fmla="*/ 8462 h 10000"/>
                  <a:gd name="connsiteX10" fmla="*/ 5705 w 10000"/>
                  <a:gd name="connsiteY10" fmla="*/ 10000 h 10000"/>
                  <a:gd name="connsiteX11" fmla="*/ 6776 w 10000"/>
                  <a:gd name="connsiteY11" fmla="*/ 10000 h 10000"/>
                  <a:gd name="connsiteX12" fmla="*/ 8389 w 10000"/>
                  <a:gd name="connsiteY12" fmla="*/ 9235 h 10000"/>
                  <a:gd name="connsiteX13" fmla="*/ 8925 w 10000"/>
                  <a:gd name="connsiteY13" fmla="*/ 8462 h 10000"/>
                  <a:gd name="connsiteX14" fmla="*/ 10000 w 10000"/>
                  <a:gd name="connsiteY14" fmla="*/ 8462 h 10000"/>
                  <a:gd name="connsiteX15" fmla="*/ 10000 w 10000"/>
                  <a:gd name="connsiteY15" fmla="*/ 7697 h 10000"/>
                  <a:gd name="connsiteX16" fmla="*/ 9462 w 10000"/>
                  <a:gd name="connsiteY16" fmla="*/ 6927 h 10000"/>
                  <a:gd name="connsiteX17" fmla="*/ 8389 w 10000"/>
                  <a:gd name="connsiteY17" fmla="*/ 4627 h 10000"/>
                  <a:gd name="connsiteX18" fmla="*/ 7853 w 10000"/>
                  <a:gd name="connsiteY18" fmla="*/ 3860 h 10000"/>
                  <a:gd name="connsiteX19" fmla="*/ 7853 w 10000"/>
                  <a:gd name="connsiteY19" fmla="*/ 3095 h 10000"/>
                  <a:gd name="connsiteX20" fmla="*/ 8389 w 10000"/>
                  <a:gd name="connsiteY20" fmla="*/ 3095 h 10000"/>
                  <a:gd name="connsiteX21" fmla="*/ 8925 w 10000"/>
                  <a:gd name="connsiteY21" fmla="*/ 20 h 10000"/>
                  <a:gd name="connsiteX0" fmla="*/ 8925 w 10000"/>
                  <a:gd name="connsiteY0" fmla="*/ 20 h 10000"/>
                  <a:gd name="connsiteX1" fmla="*/ 7191 w 10000"/>
                  <a:gd name="connsiteY1" fmla="*/ 273 h 10000"/>
                  <a:gd name="connsiteX2" fmla="*/ 4973 w 10000"/>
                  <a:gd name="connsiteY2" fmla="*/ 150 h 10000"/>
                  <a:gd name="connsiteX3" fmla="*/ 1830 w 10000"/>
                  <a:gd name="connsiteY3" fmla="*/ 1346 h 10000"/>
                  <a:gd name="connsiteX4" fmla="*/ 1441 w 10000"/>
                  <a:gd name="connsiteY4" fmla="*/ 0 h 10000"/>
                  <a:gd name="connsiteX5" fmla="*/ 518 w 10000"/>
                  <a:gd name="connsiteY5" fmla="*/ 46 h 10000"/>
                  <a:gd name="connsiteX6" fmla="*/ 0 w 10000"/>
                  <a:gd name="connsiteY6" fmla="*/ 2324 h 10000"/>
                  <a:gd name="connsiteX7" fmla="*/ 334 w 10000"/>
                  <a:gd name="connsiteY7" fmla="*/ 3095 h 10000"/>
                  <a:gd name="connsiteX8" fmla="*/ 3020 w 10000"/>
                  <a:gd name="connsiteY8" fmla="*/ 7697 h 10000"/>
                  <a:gd name="connsiteX9" fmla="*/ 3557 w 10000"/>
                  <a:gd name="connsiteY9" fmla="*/ 8462 h 10000"/>
                  <a:gd name="connsiteX10" fmla="*/ 4630 w 10000"/>
                  <a:gd name="connsiteY10" fmla="*/ 8462 h 10000"/>
                  <a:gd name="connsiteX11" fmla="*/ 5705 w 10000"/>
                  <a:gd name="connsiteY11" fmla="*/ 10000 h 10000"/>
                  <a:gd name="connsiteX12" fmla="*/ 6776 w 10000"/>
                  <a:gd name="connsiteY12" fmla="*/ 10000 h 10000"/>
                  <a:gd name="connsiteX13" fmla="*/ 8389 w 10000"/>
                  <a:gd name="connsiteY13" fmla="*/ 9235 h 10000"/>
                  <a:gd name="connsiteX14" fmla="*/ 8925 w 10000"/>
                  <a:gd name="connsiteY14" fmla="*/ 8462 h 10000"/>
                  <a:gd name="connsiteX15" fmla="*/ 10000 w 10000"/>
                  <a:gd name="connsiteY15" fmla="*/ 8462 h 10000"/>
                  <a:gd name="connsiteX16" fmla="*/ 10000 w 10000"/>
                  <a:gd name="connsiteY16" fmla="*/ 7697 h 10000"/>
                  <a:gd name="connsiteX17" fmla="*/ 9462 w 10000"/>
                  <a:gd name="connsiteY17" fmla="*/ 6927 h 10000"/>
                  <a:gd name="connsiteX18" fmla="*/ 8389 w 10000"/>
                  <a:gd name="connsiteY18" fmla="*/ 4627 h 10000"/>
                  <a:gd name="connsiteX19" fmla="*/ 7853 w 10000"/>
                  <a:gd name="connsiteY19" fmla="*/ 3860 h 10000"/>
                  <a:gd name="connsiteX20" fmla="*/ 7853 w 10000"/>
                  <a:gd name="connsiteY20" fmla="*/ 3095 h 10000"/>
                  <a:gd name="connsiteX21" fmla="*/ 8389 w 10000"/>
                  <a:gd name="connsiteY21" fmla="*/ 3095 h 10000"/>
                  <a:gd name="connsiteX22" fmla="*/ 8925 w 10000"/>
                  <a:gd name="connsiteY22" fmla="*/ 20 h 10000"/>
                  <a:gd name="connsiteX0" fmla="*/ 8925 w 10000"/>
                  <a:gd name="connsiteY0" fmla="*/ 20 h 10000"/>
                  <a:gd name="connsiteX1" fmla="*/ 6008 w 10000"/>
                  <a:gd name="connsiteY1" fmla="*/ 1142 h 10000"/>
                  <a:gd name="connsiteX2" fmla="*/ 4973 w 10000"/>
                  <a:gd name="connsiteY2" fmla="*/ 150 h 10000"/>
                  <a:gd name="connsiteX3" fmla="*/ 1830 w 10000"/>
                  <a:gd name="connsiteY3" fmla="*/ 1346 h 10000"/>
                  <a:gd name="connsiteX4" fmla="*/ 1441 w 10000"/>
                  <a:gd name="connsiteY4" fmla="*/ 0 h 10000"/>
                  <a:gd name="connsiteX5" fmla="*/ 518 w 10000"/>
                  <a:gd name="connsiteY5" fmla="*/ 46 h 10000"/>
                  <a:gd name="connsiteX6" fmla="*/ 0 w 10000"/>
                  <a:gd name="connsiteY6" fmla="*/ 2324 h 10000"/>
                  <a:gd name="connsiteX7" fmla="*/ 334 w 10000"/>
                  <a:gd name="connsiteY7" fmla="*/ 3095 h 10000"/>
                  <a:gd name="connsiteX8" fmla="*/ 3020 w 10000"/>
                  <a:gd name="connsiteY8" fmla="*/ 7697 h 10000"/>
                  <a:gd name="connsiteX9" fmla="*/ 3557 w 10000"/>
                  <a:gd name="connsiteY9" fmla="*/ 8462 h 10000"/>
                  <a:gd name="connsiteX10" fmla="*/ 4630 w 10000"/>
                  <a:gd name="connsiteY10" fmla="*/ 8462 h 10000"/>
                  <a:gd name="connsiteX11" fmla="*/ 5705 w 10000"/>
                  <a:gd name="connsiteY11" fmla="*/ 10000 h 10000"/>
                  <a:gd name="connsiteX12" fmla="*/ 6776 w 10000"/>
                  <a:gd name="connsiteY12" fmla="*/ 10000 h 10000"/>
                  <a:gd name="connsiteX13" fmla="*/ 8389 w 10000"/>
                  <a:gd name="connsiteY13" fmla="*/ 9235 h 10000"/>
                  <a:gd name="connsiteX14" fmla="*/ 8925 w 10000"/>
                  <a:gd name="connsiteY14" fmla="*/ 8462 h 10000"/>
                  <a:gd name="connsiteX15" fmla="*/ 10000 w 10000"/>
                  <a:gd name="connsiteY15" fmla="*/ 8462 h 10000"/>
                  <a:gd name="connsiteX16" fmla="*/ 10000 w 10000"/>
                  <a:gd name="connsiteY16" fmla="*/ 7697 h 10000"/>
                  <a:gd name="connsiteX17" fmla="*/ 9462 w 10000"/>
                  <a:gd name="connsiteY17" fmla="*/ 6927 h 10000"/>
                  <a:gd name="connsiteX18" fmla="*/ 8389 w 10000"/>
                  <a:gd name="connsiteY18" fmla="*/ 4627 h 10000"/>
                  <a:gd name="connsiteX19" fmla="*/ 7853 w 10000"/>
                  <a:gd name="connsiteY19" fmla="*/ 3860 h 10000"/>
                  <a:gd name="connsiteX20" fmla="*/ 7853 w 10000"/>
                  <a:gd name="connsiteY20" fmla="*/ 3095 h 10000"/>
                  <a:gd name="connsiteX21" fmla="*/ 8389 w 10000"/>
                  <a:gd name="connsiteY21" fmla="*/ 3095 h 10000"/>
                  <a:gd name="connsiteX22" fmla="*/ 8925 w 10000"/>
                  <a:gd name="connsiteY22" fmla="*/ 20 h 10000"/>
                  <a:gd name="connsiteX0" fmla="*/ 8925 w 10000"/>
                  <a:gd name="connsiteY0" fmla="*/ 20 h 10000"/>
                  <a:gd name="connsiteX1" fmla="*/ 7857 w 10000"/>
                  <a:gd name="connsiteY1" fmla="*/ 397 h 10000"/>
                  <a:gd name="connsiteX2" fmla="*/ 6008 w 10000"/>
                  <a:gd name="connsiteY2" fmla="*/ 1142 h 10000"/>
                  <a:gd name="connsiteX3" fmla="*/ 4973 w 10000"/>
                  <a:gd name="connsiteY3" fmla="*/ 150 h 10000"/>
                  <a:gd name="connsiteX4" fmla="*/ 1830 w 10000"/>
                  <a:gd name="connsiteY4" fmla="*/ 1346 h 10000"/>
                  <a:gd name="connsiteX5" fmla="*/ 1441 w 10000"/>
                  <a:gd name="connsiteY5" fmla="*/ 0 h 10000"/>
                  <a:gd name="connsiteX6" fmla="*/ 518 w 10000"/>
                  <a:gd name="connsiteY6" fmla="*/ 46 h 10000"/>
                  <a:gd name="connsiteX7" fmla="*/ 0 w 10000"/>
                  <a:gd name="connsiteY7" fmla="*/ 2324 h 10000"/>
                  <a:gd name="connsiteX8" fmla="*/ 334 w 10000"/>
                  <a:gd name="connsiteY8" fmla="*/ 3095 h 10000"/>
                  <a:gd name="connsiteX9" fmla="*/ 3020 w 10000"/>
                  <a:gd name="connsiteY9" fmla="*/ 7697 h 10000"/>
                  <a:gd name="connsiteX10" fmla="*/ 3557 w 10000"/>
                  <a:gd name="connsiteY10" fmla="*/ 8462 h 10000"/>
                  <a:gd name="connsiteX11" fmla="*/ 4630 w 10000"/>
                  <a:gd name="connsiteY11" fmla="*/ 8462 h 10000"/>
                  <a:gd name="connsiteX12" fmla="*/ 5705 w 10000"/>
                  <a:gd name="connsiteY12" fmla="*/ 10000 h 10000"/>
                  <a:gd name="connsiteX13" fmla="*/ 6776 w 10000"/>
                  <a:gd name="connsiteY13" fmla="*/ 10000 h 10000"/>
                  <a:gd name="connsiteX14" fmla="*/ 8389 w 10000"/>
                  <a:gd name="connsiteY14" fmla="*/ 9235 h 10000"/>
                  <a:gd name="connsiteX15" fmla="*/ 8925 w 10000"/>
                  <a:gd name="connsiteY15" fmla="*/ 8462 h 10000"/>
                  <a:gd name="connsiteX16" fmla="*/ 10000 w 10000"/>
                  <a:gd name="connsiteY16" fmla="*/ 8462 h 10000"/>
                  <a:gd name="connsiteX17" fmla="*/ 10000 w 10000"/>
                  <a:gd name="connsiteY17" fmla="*/ 7697 h 10000"/>
                  <a:gd name="connsiteX18" fmla="*/ 9462 w 10000"/>
                  <a:gd name="connsiteY18" fmla="*/ 6927 h 10000"/>
                  <a:gd name="connsiteX19" fmla="*/ 8389 w 10000"/>
                  <a:gd name="connsiteY19" fmla="*/ 4627 h 10000"/>
                  <a:gd name="connsiteX20" fmla="*/ 7853 w 10000"/>
                  <a:gd name="connsiteY20" fmla="*/ 3860 h 10000"/>
                  <a:gd name="connsiteX21" fmla="*/ 7853 w 10000"/>
                  <a:gd name="connsiteY21" fmla="*/ 3095 h 10000"/>
                  <a:gd name="connsiteX22" fmla="*/ 8389 w 10000"/>
                  <a:gd name="connsiteY22" fmla="*/ 3095 h 10000"/>
                  <a:gd name="connsiteX23" fmla="*/ 8925 w 10000"/>
                  <a:gd name="connsiteY23" fmla="*/ 20 h 10000"/>
                  <a:gd name="connsiteX0" fmla="*/ 8925 w 10000"/>
                  <a:gd name="connsiteY0" fmla="*/ 2603 h 12583"/>
                  <a:gd name="connsiteX1" fmla="*/ 6969 w 10000"/>
                  <a:gd name="connsiteY1" fmla="*/ 0 h 12583"/>
                  <a:gd name="connsiteX2" fmla="*/ 6008 w 10000"/>
                  <a:gd name="connsiteY2" fmla="*/ 3725 h 12583"/>
                  <a:gd name="connsiteX3" fmla="*/ 4973 w 10000"/>
                  <a:gd name="connsiteY3" fmla="*/ 2733 h 12583"/>
                  <a:gd name="connsiteX4" fmla="*/ 1830 w 10000"/>
                  <a:gd name="connsiteY4" fmla="*/ 3929 h 12583"/>
                  <a:gd name="connsiteX5" fmla="*/ 1441 w 10000"/>
                  <a:gd name="connsiteY5" fmla="*/ 2583 h 12583"/>
                  <a:gd name="connsiteX6" fmla="*/ 518 w 10000"/>
                  <a:gd name="connsiteY6" fmla="*/ 2629 h 12583"/>
                  <a:gd name="connsiteX7" fmla="*/ 0 w 10000"/>
                  <a:gd name="connsiteY7" fmla="*/ 4907 h 12583"/>
                  <a:gd name="connsiteX8" fmla="*/ 334 w 10000"/>
                  <a:gd name="connsiteY8" fmla="*/ 5678 h 12583"/>
                  <a:gd name="connsiteX9" fmla="*/ 3020 w 10000"/>
                  <a:gd name="connsiteY9" fmla="*/ 10280 h 12583"/>
                  <a:gd name="connsiteX10" fmla="*/ 3557 w 10000"/>
                  <a:gd name="connsiteY10" fmla="*/ 11045 h 12583"/>
                  <a:gd name="connsiteX11" fmla="*/ 4630 w 10000"/>
                  <a:gd name="connsiteY11" fmla="*/ 11045 h 12583"/>
                  <a:gd name="connsiteX12" fmla="*/ 5705 w 10000"/>
                  <a:gd name="connsiteY12" fmla="*/ 12583 h 12583"/>
                  <a:gd name="connsiteX13" fmla="*/ 6776 w 10000"/>
                  <a:gd name="connsiteY13" fmla="*/ 12583 h 12583"/>
                  <a:gd name="connsiteX14" fmla="*/ 8389 w 10000"/>
                  <a:gd name="connsiteY14" fmla="*/ 11818 h 12583"/>
                  <a:gd name="connsiteX15" fmla="*/ 8925 w 10000"/>
                  <a:gd name="connsiteY15" fmla="*/ 11045 h 12583"/>
                  <a:gd name="connsiteX16" fmla="*/ 10000 w 10000"/>
                  <a:gd name="connsiteY16" fmla="*/ 11045 h 12583"/>
                  <a:gd name="connsiteX17" fmla="*/ 10000 w 10000"/>
                  <a:gd name="connsiteY17" fmla="*/ 10280 h 12583"/>
                  <a:gd name="connsiteX18" fmla="*/ 9462 w 10000"/>
                  <a:gd name="connsiteY18" fmla="*/ 9510 h 12583"/>
                  <a:gd name="connsiteX19" fmla="*/ 8389 w 10000"/>
                  <a:gd name="connsiteY19" fmla="*/ 7210 h 12583"/>
                  <a:gd name="connsiteX20" fmla="*/ 7853 w 10000"/>
                  <a:gd name="connsiteY20" fmla="*/ 6443 h 12583"/>
                  <a:gd name="connsiteX21" fmla="*/ 7853 w 10000"/>
                  <a:gd name="connsiteY21" fmla="*/ 5678 h 12583"/>
                  <a:gd name="connsiteX22" fmla="*/ 8389 w 10000"/>
                  <a:gd name="connsiteY22" fmla="*/ 5678 h 12583"/>
                  <a:gd name="connsiteX23" fmla="*/ 8925 w 10000"/>
                  <a:gd name="connsiteY23" fmla="*/ 2603 h 12583"/>
                  <a:gd name="connsiteX0" fmla="*/ 8925 w 10000"/>
                  <a:gd name="connsiteY0" fmla="*/ 2603 h 12583"/>
                  <a:gd name="connsiteX1" fmla="*/ 8227 w 10000"/>
                  <a:gd name="connsiteY1" fmla="*/ 1739 h 12583"/>
                  <a:gd name="connsiteX2" fmla="*/ 6969 w 10000"/>
                  <a:gd name="connsiteY2" fmla="*/ 0 h 12583"/>
                  <a:gd name="connsiteX3" fmla="*/ 6008 w 10000"/>
                  <a:gd name="connsiteY3" fmla="*/ 3725 h 12583"/>
                  <a:gd name="connsiteX4" fmla="*/ 4973 w 10000"/>
                  <a:gd name="connsiteY4" fmla="*/ 2733 h 12583"/>
                  <a:gd name="connsiteX5" fmla="*/ 1830 w 10000"/>
                  <a:gd name="connsiteY5" fmla="*/ 3929 h 12583"/>
                  <a:gd name="connsiteX6" fmla="*/ 1441 w 10000"/>
                  <a:gd name="connsiteY6" fmla="*/ 2583 h 12583"/>
                  <a:gd name="connsiteX7" fmla="*/ 518 w 10000"/>
                  <a:gd name="connsiteY7" fmla="*/ 2629 h 12583"/>
                  <a:gd name="connsiteX8" fmla="*/ 0 w 10000"/>
                  <a:gd name="connsiteY8" fmla="*/ 4907 h 12583"/>
                  <a:gd name="connsiteX9" fmla="*/ 334 w 10000"/>
                  <a:gd name="connsiteY9" fmla="*/ 5678 h 12583"/>
                  <a:gd name="connsiteX10" fmla="*/ 3020 w 10000"/>
                  <a:gd name="connsiteY10" fmla="*/ 10280 h 12583"/>
                  <a:gd name="connsiteX11" fmla="*/ 3557 w 10000"/>
                  <a:gd name="connsiteY11" fmla="*/ 11045 h 12583"/>
                  <a:gd name="connsiteX12" fmla="*/ 4630 w 10000"/>
                  <a:gd name="connsiteY12" fmla="*/ 11045 h 12583"/>
                  <a:gd name="connsiteX13" fmla="*/ 5705 w 10000"/>
                  <a:gd name="connsiteY13" fmla="*/ 12583 h 12583"/>
                  <a:gd name="connsiteX14" fmla="*/ 6776 w 10000"/>
                  <a:gd name="connsiteY14" fmla="*/ 12583 h 12583"/>
                  <a:gd name="connsiteX15" fmla="*/ 8389 w 10000"/>
                  <a:gd name="connsiteY15" fmla="*/ 11818 h 12583"/>
                  <a:gd name="connsiteX16" fmla="*/ 8925 w 10000"/>
                  <a:gd name="connsiteY16" fmla="*/ 11045 h 12583"/>
                  <a:gd name="connsiteX17" fmla="*/ 10000 w 10000"/>
                  <a:gd name="connsiteY17" fmla="*/ 11045 h 12583"/>
                  <a:gd name="connsiteX18" fmla="*/ 10000 w 10000"/>
                  <a:gd name="connsiteY18" fmla="*/ 10280 h 12583"/>
                  <a:gd name="connsiteX19" fmla="*/ 9462 w 10000"/>
                  <a:gd name="connsiteY19" fmla="*/ 9510 h 12583"/>
                  <a:gd name="connsiteX20" fmla="*/ 8389 w 10000"/>
                  <a:gd name="connsiteY20" fmla="*/ 7210 h 12583"/>
                  <a:gd name="connsiteX21" fmla="*/ 7853 w 10000"/>
                  <a:gd name="connsiteY21" fmla="*/ 6443 h 12583"/>
                  <a:gd name="connsiteX22" fmla="*/ 7853 w 10000"/>
                  <a:gd name="connsiteY22" fmla="*/ 5678 h 12583"/>
                  <a:gd name="connsiteX23" fmla="*/ 8389 w 10000"/>
                  <a:gd name="connsiteY23" fmla="*/ 5678 h 12583"/>
                  <a:gd name="connsiteX24" fmla="*/ 8925 w 10000"/>
                  <a:gd name="connsiteY24" fmla="*/ 2603 h 12583"/>
                  <a:gd name="connsiteX0" fmla="*/ 8925 w 10000"/>
                  <a:gd name="connsiteY0" fmla="*/ 2603 h 12583"/>
                  <a:gd name="connsiteX1" fmla="*/ 7561 w 10000"/>
                  <a:gd name="connsiteY1" fmla="*/ 1 h 12583"/>
                  <a:gd name="connsiteX2" fmla="*/ 6969 w 10000"/>
                  <a:gd name="connsiteY2" fmla="*/ 0 h 12583"/>
                  <a:gd name="connsiteX3" fmla="*/ 6008 w 10000"/>
                  <a:gd name="connsiteY3" fmla="*/ 3725 h 12583"/>
                  <a:gd name="connsiteX4" fmla="*/ 4973 w 10000"/>
                  <a:gd name="connsiteY4" fmla="*/ 2733 h 12583"/>
                  <a:gd name="connsiteX5" fmla="*/ 1830 w 10000"/>
                  <a:gd name="connsiteY5" fmla="*/ 3929 h 12583"/>
                  <a:gd name="connsiteX6" fmla="*/ 1441 w 10000"/>
                  <a:gd name="connsiteY6" fmla="*/ 2583 h 12583"/>
                  <a:gd name="connsiteX7" fmla="*/ 518 w 10000"/>
                  <a:gd name="connsiteY7" fmla="*/ 2629 h 12583"/>
                  <a:gd name="connsiteX8" fmla="*/ 0 w 10000"/>
                  <a:gd name="connsiteY8" fmla="*/ 4907 h 12583"/>
                  <a:gd name="connsiteX9" fmla="*/ 334 w 10000"/>
                  <a:gd name="connsiteY9" fmla="*/ 5678 h 12583"/>
                  <a:gd name="connsiteX10" fmla="*/ 3020 w 10000"/>
                  <a:gd name="connsiteY10" fmla="*/ 10280 h 12583"/>
                  <a:gd name="connsiteX11" fmla="*/ 3557 w 10000"/>
                  <a:gd name="connsiteY11" fmla="*/ 11045 h 12583"/>
                  <a:gd name="connsiteX12" fmla="*/ 4630 w 10000"/>
                  <a:gd name="connsiteY12" fmla="*/ 11045 h 12583"/>
                  <a:gd name="connsiteX13" fmla="*/ 5705 w 10000"/>
                  <a:gd name="connsiteY13" fmla="*/ 12583 h 12583"/>
                  <a:gd name="connsiteX14" fmla="*/ 6776 w 10000"/>
                  <a:gd name="connsiteY14" fmla="*/ 12583 h 12583"/>
                  <a:gd name="connsiteX15" fmla="*/ 8389 w 10000"/>
                  <a:gd name="connsiteY15" fmla="*/ 11818 h 12583"/>
                  <a:gd name="connsiteX16" fmla="*/ 8925 w 10000"/>
                  <a:gd name="connsiteY16" fmla="*/ 11045 h 12583"/>
                  <a:gd name="connsiteX17" fmla="*/ 10000 w 10000"/>
                  <a:gd name="connsiteY17" fmla="*/ 11045 h 12583"/>
                  <a:gd name="connsiteX18" fmla="*/ 10000 w 10000"/>
                  <a:gd name="connsiteY18" fmla="*/ 10280 h 12583"/>
                  <a:gd name="connsiteX19" fmla="*/ 9462 w 10000"/>
                  <a:gd name="connsiteY19" fmla="*/ 9510 h 12583"/>
                  <a:gd name="connsiteX20" fmla="*/ 8389 w 10000"/>
                  <a:gd name="connsiteY20" fmla="*/ 7210 h 12583"/>
                  <a:gd name="connsiteX21" fmla="*/ 7853 w 10000"/>
                  <a:gd name="connsiteY21" fmla="*/ 6443 h 12583"/>
                  <a:gd name="connsiteX22" fmla="*/ 7853 w 10000"/>
                  <a:gd name="connsiteY22" fmla="*/ 5678 h 12583"/>
                  <a:gd name="connsiteX23" fmla="*/ 8389 w 10000"/>
                  <a:gd name="connsiteY23" fmla="*/ 5678 h 12583"/>
                  <a:gd name="connsiteX24" fmla="*/ 8925 w 10000"/>
                  <a:gd name="connsiteY24" fmla="*/ 2603 h 12583"/>
                  <a:gd name="connsiteX0" fmla="*/ 8925 w 10000"/>
                  <a:gd name="connsiteY0" fmla="*/ 2602 h 12582"/>
                  <a:gd name="connsiteX1" fmla="*/ 7561 w 10000"/>
                  <a:gd name="connsiteY1" fmla="*/ 0 h 12582"/>
                  <a:gd name="connsiteX2" fmla="*/ 6821 w 10000"/>
                  <a:gd name="connsiteY2" fmla="*/ 496 h 12582"/>
                  <a:gd name="connsiteX3" fmla="*/ 6008 w 10000"/>
                  <a:gd name="connsiteY3" fmla="*/ 3724 h 12582"/>
                  <a:gd name="connsiteX4" fmla="*/ 4973 w 10000"/>
                  <a:gd name="connsiteY4" fmla="*/ 2732 h 12582"/>
                  <a:gd name="connsiteX5" fmla="*/ 1830 w 10000"/>
                  <a:gd name="connsiteY5" fmla="*/ 3928 h 12582"/>
                  <a:gd name="connsiteX6" fmla="*/ 1441 w 10000"/>
                  <a:gd name="connsiteY6" fmla="*/ 2582 h 12582"/>
                  <a:gd name="connsiteX7" fmla="*/ 518 w 10000"/>
                  <a:gd name="connsiteY7" fmla="*/ 2628 h 12582"/>
                  <a:gd name="connsiteX8" fmla="*/ 0 w 10000"/>
                  <a:gd name="connsiteY8" fmla="*/ 4906 h 12582"/>
                  <a:gd name="connsiteX9" fmla="*/ 334 w 10000"/>
                  <a:gd name="connsiteY9" fmla="*/ 5677 h 12582"/>
                  <a:gd name="connsiteX10" fmla="*/ 3020 w 10000"/>
                  <a:gd name="connsiteY10" fmla="*/ 10279 h 12582"/>
                  <a:gd name="connsiteX11" fmla="*/ 3557 w 10000"/>
                  <a:gd name="connsiteY11" fmla="*/ 11044 h 12582"/>
                  <a:gd name="connsiteX12" fmla="*/ 4630 w 10000"/>
                  <a:gd name="connsiteY12" fmla="*/ 11044 h 12582"/>
                  <a:gd name="connsiteX13" fmla="*/ 5705 w 10000"/>
                  <a:gd name="connsiteY13" fmla="*/ 12582 h 12582"/>
                  <a:gd name="connsiteX14" fmla="*/ 6776 w 10000"/>
                  <a:gd name="connsiteY14" fmla="*/ 12582 h 12582"/>
                  <a:gd name="connsiteX15" fmla="*/ 8389 w 10000"/>
                  <a:gd name="connsiteY15" fmla="*/ 11817 h 12582"/>
                  <a:gd name="connsiteX16" fmla="*/ 8925 w 10000"/>
                  <a:gd name="connsiteY16" fmla="*/ 11044 h 12582"/>
                  <a:gd name="connsiteX17" fmla="*/ 10000 w 10000"/>
                  <a:gd name="connsiteY17" fmla="*/ 11044 h 12582"/>
                  <a:gd name="connsiteX18" fmla="*/ 10000 w 10000"/>
                  <a:gd name="connsiteY18" fmla="*/ 10279 h 12582"/>
                  <a:gd name="connsiteX19" fmla="*/ 9462 w 10000"/>
                  <a:gd name="connsiteY19" fmla="*/ 9509 h 12582"/>
                  <a:gd name="connsiteX20" fmla="*/ 8389 w 10000"/>
                  <a:gd name="connsiteY20" fmla="*/ 7209 h 12582"/>
                  <a:gd name="connsiteX21" fmla="*/ 7853 w 10000"/>
                  <a:gd name="connsiteY21" fmla="*/ 6442 h 12582"/>
                  <a:gd name="connsiteX22" fmla="*/ 7853 w 10000"/>
                  <a:gd name="connsiteY22" fmla="*/ 5677 h 12582"/>
                  <a:gd name="connsiteX23" fmla="*/ 8389 w 10000"/>
                  <a:gd name="connsiteY23" fmla="*/ 5677 h 12582"/>
                  <a:gd name="connsiteX24" fmla="*/ 8925 w 10000"/>
                  <a:gd name="connsiteY24" fmla="*/ 2602 h 12582"/>
                  <a:gd name="connsiteX0" fmla="*/ 8925 w 10000"/>
                  <a:gd name="connsiteY0" fmla="*/ 2602 h 12582"/>
                  <a:gd name="connsiteX1" fmla="*/ 8301 w 10000"/>
                  <a:gd name="connsiteY1" fmla="*/ 1365 h 12582"/>
                  <a:gd name="connsiteX2" fmla="*/ 7561 w 10000"/>
                  <a:gd name="connsiteY2" fmla="*/ 0 h 12582"/>
                  <a:gd name="connsiteX3" fmla="*/ 6821 w 10000"/>
                  <a:gd name="connsiteY3" fmla="*/ 496 h 12582"/>
                  <a:gd name="connsiteX4" fmla="*/ 6008 w 10000"/>
                  <a:gd name="connsiteY4" fmla="*/ 3724 h 12582"/>
                  <a:gd name="connsiteX5" fmla="*/ 4973 w 10000"/>
                  <a:gd name="connsiteY5" fmla="*/ 2732 h 12582"/>
                  <a:gd name="connsiteX6" fmla="*/ 1830 w 10000"/>
                  <a:gd name="connsiteY6" fmla="*/ 3928 h 12582"/>
                  <a:gd name="connsiteX7" fmla="*/ 1441 w 10000"/>
                  <a:gd name="connsiteY7" fmla="*/ 2582 h 12582"/>
                  <a:gd name="connsiteX8" fmla="*/ 518 w 10000"/>
                  <a:gd name="connsiteY8" fmla="*/ 2628 h 12582"/>
                  <a:gd name="connsiteX9" fmla="*/ 0 w 10000"/>
                  <a:gd name="connsiteY9" fmla="*/ 4906 h 12582"/>
                  <a:gd name="connsiteX10" fmla="*/ 334 w 10000"/>
                  <a:gd name="connsiteY10" fmla="*/ 5677 h 12582"/>
                  <a:gd name="connsiteX11" fmla="*/ 3020 w 10000"/>
                  <a:gd name="connsiteY11" fmla="*/ 10279 h 12582"/>
                  <a:gd name="connsiteX12" fmla="*/ 3557 w 10000"/>
                  <a:gd name="connsiteY12" fmla="*/ 11044 h 12582"/>
                  <a:gd name="connsiteX13" fmla="*/ 4630 w 10000"/>
                  <a:gd name="connsiteY13" fmla="*/ 11044 h 12582"/>
                  <a:gd name="connsiteX14" fmla="*/ 5705 w 10000"/>
                  <a:gd name="connsiteY14" fmla="*/ 12582 h 12582"/>
                  <a:gd name="connsiteX15" fmla="*/ 6776 w 10000"/>
                  <a:gd name="connsiteY15" fmla="*/ 12582 h 12582"/>
                  <a:gd name="connsiteX16" fmla="*/ 8389 w 10000"/>
                  <a:gd name="connsiteY16" fmla="*/ 11817 h 12582"/>
                  <a:gd name="connsiteX17" fmla="*/ 8925 w 10000"/>
                  <a:gd name="connsiteY17" fmla="*/ 11044 h 12582"/>
                  <a:gd name="connsiteX18" fmla="*/ 10000 w 10000"/>
                  <a:gd name="connsiteY18" fmla="*/ 11044 h 12582"/>
                  <a:gd name="connsiteX19" fmla="*/ 10000 w 10000"/>
                  <a:gd name="connsiteY19" fmla="*/ 10279 h 12582"/>
                  <a:gd name="connsiteX20" fmla="*/ 9462 w 10000"/>
                  <a:gd name="connsiteY20" fmla="*/ 9509 h 12582"/>
                  <a:gd name="connsiteX21" fmla="*/ 8389 w 10000"/>
                  <a:gd name="connsiteY21" fmla="*/ 7209 h 12582"/>
                  <a:gd name="connsiteX22" fmla="*/ 7853 w 10000"/>
                  <a:gd name="connsiteY22" fmla="*/ 6442 h 12582"/>
                  <a:gd name="connsiteX23" fmla="*/ 7853 w 10000"/>
                  <a:gd name="connsiteY23" fmla="*/ 5677 h 12582"/>
                  <a:gd name="connsiteX24" fmla="*/ 8389 w 10000"/>
                  <a:gd name="connsiteY24" fmla="*/ 5677 h 12582"/>
                  <a:gd name="connsiteX25" fmla="*/ 8925 w 10000"/>
                  <a:gd name="connsiteY25" fmla="*/ 2602 h 12582"/>
                  <a:gd name="connsiteX0" fmla="*/ 8925 w 10000"/>
                  <a:gd name="connsiteY0" fmla="*/ 2602 h 12582"/>
                  <a:gd name="connsiteX1" fmla="*/ 8301 w 10000"/>
                  <a:gd name="connsiteY1" fmla="*/ 3476 h 12582"/>
                  <a:gd name="connsiteX2" fmla="*/ 7561 w 10000"/>
                  <a:gd name="connsiteY2" fmla="*/ 0 h 12582"/>
                  <a:gd name="connsiteX3" fmla="*/ 6821 w 10000"/>
                  <a:gd name="connsiteY3" fmla="*/ 496 h 12582"/>
                  <a:gd name="connsiteX4" fmla="*/ 6008 w 10000"/>
                  <a:gd name="connsiteY4" fmla="*/ 3724 h 12582"/>
                  <a:gd name="connsiteX5" fmla="*/ 4973 w 10000"/>
                  <a:gd name="connsiteY5" fmla="*/ 2732 h 12582"/>
                  <a:gd name="connsiteX6" fmla="*/ 1830 w 10000"/>
                  <a:gd name="connsiteY6" fmla="*/ 3928 h 12582"/>
                  <a:gd name="connsiteX7" fmla="*/ 1441 w 10000"/>
                  <a:gd name="connsiteY7" fmla="*/ 2582 h 12582"/>
                  <a:gd name="connsiteX8" fmla="*/ 518 w 10000"/>
                  <a:gd name="connsiteY8" fmla="*/ 2628 h 12582"/>
                  <a:gd name="connsiteX9" fmla="*/ 0 w 10000"/>
                  <a:gd name="connsiteY9" fmla="*/ 4906 h 12582"/>
                  <a:gd name="connsiteX10" fmla="*/ 334 w 10000"/>
                  <a:gd name="connsiteY10" fmla="*/ 5677 h 12582"/>
                  <a:gd name="connsiteX11" fmla="*/ 3020 w 10000"/>
                  <a:gd name="connsiteY11" fmla="*/ 10279 h 12582"/>
                  <a:gd name="connsiteX12" fmla="*/ 3557 w 10000"/>
                  <a:gd name="connsiteY12" fmla="*/ 11044 h 12582"/>
                  <a:gd name="connsiteX13" fmla="*/ 4630 w 10000"/>
                  <a:gd name="connsiteY13" fmla="*/ 11044 h 12582"/>
                  <a:gd name="connsiteX14" fmla="*/ 5705 w 10000"/>
                  <a:gd name="connsiteY14" fmla="*/ 12582 h 12582"/>
                  <a:gd name="connsiteX15" fmla="*/ 6776 w 10000"/>
                  <a:gd name="connsiteY15" fmla="*/ 12582 h 12582"/>
                  <a:gd name="connsiteX16" fmla="*/ 8389 w 10000"/>
                  <a:gd name="connsiteY16" fmla="*/ 11817 h 12582"/>
                  <a:gd name="connsiteX17" fmla="*/ 8925 w 10000"/>
                  <a:gd name="connsiteY17" fmla="*/ 11044 h 12582"/>
                  <a:gd name="connsiteX18" fmla="*/ 10000 w 10000"/>
                  <a:gd name="connsiteY18" fmla="*/ 11044 h 12582"/>
                  <a:gd name="connsiteX19" fmla="*/ 10000 w 10000"/>
                  <a:gd name="connsiteY19" fmla="*/ 10279 h 12582"/>
                  <a:gd name="connsiteX20" fmla="*/ 9462 w 10000"/>
                  <a:gd name="connsiteY20" fmla="*/ 9509 h 12582"/>
                  <a:gd name="connsiteX21" fmla="*/ 8389 w 10000"/>
                  <a:gd name="connsiteY21" fmla="*/ 7209 h 12582"/>
                  <a:gd name="connsiteX22" fmla="*/ 7853 w 10000"/>
                  <a:gd name="connsiteY22" fmla="*/ 6442 h 12582"/>
                  <a:gd name="connsiteX23" fmla="*/ 7853 w 10000"/>
                  <a:gd name="connsiteY23" fmla="*/ 5677 h 12582"/>
                  <a:gd name="connsiteX24" fmla="*/ 8389 w 10000"/>
                  <a:gd name="connsiteY24" fmla="*/ 5677 h 12582"/>
                  <a:gd name="connsiteX25" fmla="*/ 8925 w 10000"/>
                  <a:gd name="connsiteY25" fmla="*/ 2602 h 12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0000" h="12582">
                    <a:moveTo>
                      <a:pt x="8925" y="2602"/>
                    </a:moveTo>
                    <a:lnTo>
                      <a:pt x="8301" y="3476"/>
                    </a:lnTo>
                    <a:lnTo>
                      <a:pt x="7561" y="0"/>
                    </a:lnTo>
                    <a:lnTo>
                      <a:pt x="6821" y="496"/>
                    </a:lnTo>
                    <a:lnTo>
                      <a:pt x="6008" y="3724"/>
                    </a:lnTo>
                    <a:lnTo>
                      <a:pt x="4973" y="2732"/>
                    </a:lnTo>
                    <a:lnTo>
                      <a:pt x="1830" y="3928"/>
                    </a:lnTo>
                    <a:lnTo>
                      <a:pt x="1441" y="2582"/>
                    </a:lnTo>
                    <a:lnTo>
                      <a:pt x="518" y="2628"/>
                    </a:lnTo>
                    <a:cubicBezTo>
                      <a:pt x="345" y="3387"/>
                      <a:pt x="173" y="4147"/>
                      <a:pt x="0" y="4906"/>
                    </a:cubicBezTo>
                    <a:cubicBezTo>
                      <a:pt x="112" y="5163"/>
                      <a:pt x="222" y="5420"/>
                      <a:pt x="334" y="5677"/>
                    </a:cubicBezTo>
                    <a:lnTo>
                      <a:pt x="3020" y="10279"/>
                    </a:lnTo>
                    <a:lnTo>
                      <a:pt x="3557" y="11044"/>
                    </a:lnTo>
                    <a:lnTo>
                      <a:pt x="4630" y="11044"/>
                    </a:lnTo>
                    <a:lnTo>
                      <a:pt x="5705" y="12582"/>
                    </a:lnTo>
                    <a:lnTo>
                      <a:pt x="6776" y="12582"/>
                    </a:lnTo>
                    <a:lnTo>
                      <a:pt x="8389" y="11817"/>
                    </a:lnTo>
                    <a:lnTo>
                      <a:pt x="8925" y="11044"/>
                    </a:lnTo>
                    <a:lnTo>
                      <a:pt x="10000" y="11044"/>
                    </a:lnTo>
                    <a:lnTo>
                      <a:pt x="10000" y="10279"/>
                    </a:lnTo>
                    <a:lnTo>
                      <a:pt x="9462" y="9509"/>
                    </a:lnTo>
                    <a:lnTo>
                      <a:pt x="8389" y="7209"/>
                    </a:lnTo>
                    <a:lnTo>
                      <a:pt x="7853" y="6442"/>
                    </a:lnTo>
                    <a:lnTo>
                      <a:pt x="7853" y="5677"/>
                    </a:lnTo>
                    <a:lnTo>
                      <a:pt x="8389" y="5677"/>
                    </a:lnTo>
                    <a:cubicBezTo>
                      <a:pt x="8567" y="4652"/>
                      <a:pt x="8747" y="3627"/>
                      <a:pt x="8925" y="2602"/>
                    </a:cubicBez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9" name="Freeform 35">
                <a:extLst>
                  <a:ext uri="{FF2B5EF4-FFF2-40B4-BE49-F238E27FC236}">
                    <a16:creationId xmlns:a16="http://schemas.microsoft.com/office/drawing/2014/main" id="{8BB24C45-5A26-4D58-9802-3C151EE31004}"/>
                  </a:ext>
                </a:extLst>
              </p:cNvPr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6392864" y="4495007"/>
                <a:ext cx="1801474" cy="1553192"/>
              </a:xfrm>
              <a:custGeom>
                <a:avLst/>
                <a:gdLst>
                  <a:gd name="T0" fmla="*/ 414867 w 216"/>
                  <a:gd name="T1" fmla="*/ 250182 h 296"/>
                  <a:gd name="T2" fmla="*/ 432153 w 216"/>
                  <a:gd name="T3" fmla="*/ 176599 h 296"/>
                  <a:gd name="T4" fmla="*/ 466725 w 216"/>
                  <a:gd name="T5" fmla="*/ 161882 h 296"/>
                  <a:gd name="T6" fmla="*/ 466725 w 216"/>
                  <a:gd name="T7" fmla="*/ 147166 h 296"/>
                  <a:gd name="T8" fmla="*/ 449439 w 216"/>
                  <a:gd name="T9" fmla="*/ 132449 h 296"/>
                  <a:gd name="T10" fmla="*/ 414867 w 216"/>
                  <a:gd name="T11" fmla="*/ 29433 h 296"/>
                  <a:gd name="T12" fmla="*/ 380294 w 216"/>
                  <a:gd name="T13" fmla="*/ 14717 h 296"/>
                  <a:gd name="T14" fmla="*/ 380294 w 216"/>
                  <a:gd name="T15" fmla="*/ 0 h 296"/>
                  <a:gd name="T16" fmla="*/ 345722 w 216"/>
                  <a:gd name="T17" fmla="*/ 29433 h 296"/>
                  <a:gd name="T18" fmla="*/ 311150 w 216"/>
                  <a:gd name="T19" fmla="*/ 29433 h 296"/>
                  <a:gd name="T20" fmla="*/ 86431 w 216"/>
                  <a:gd name="T21" fmla="*/ 29433 h 296"/>
                  <a:gd name="T22" fmla="*/ 86431 w 216"/>
                  <a:gd name="T23" fmla="*/ 88299 h 296"/>
                  <a:gd name="T24" fmla="*/ 51858 w 216"/>
                  <a:gd name="T25" fmla="*/ 88299 h 296"/>
                  <a:gd name="T26" fmla="*/ 51858 w 216"/>
                  <a:gd name="T27" fmla="*/ 103016 h 296"/>
                  <a:gd name="T28" fmla="*/ 51858 w 216"/>
                  <a:gd name="T29" fmla="*/ 191315 h 296"/>
                  <a:gd name="T30" fmla="*/ 51858 w 216"/>
                  <a:gd name="T31" fmla="*/ 206032 h 296"/>
                  <a:gd name="T32" fmla="*/ 34572 w 216"/>
                  <a:gd name="T33" fmla="*/ 206032 h 296"/>
                  <a:gd name="T34" fmla="*/ 0 w 216"/>
                  <a:gd name="T35" fmla="*/ 279615 h 296"/>
                  <a:gd name="T36" fmla="*/ 34572 w 216"/>
                  <a:gd name="T37" fmla="*/ 323764 h 296"/>
                  <a:gd name="T38" fmla="*/ 17286 w 216"/>
                  <a:gd name="T39" fmla="*/ 338481 h 296"/>
                  <a:gd name="T40" fmla="*/ 51858 w 216"/>
                  <a:gd name="T41" fmla="*/ 367914 h 296"/>
                  <a:gd name="T42" fmla="*/ 51858 w 216"/>
                  <a:gd name="T43" fmla="*/ 397347 h 296"/>
                  <a:gd name="T44" fmla="*/ 86431 w 216"/>
                  <a:gd name="T45" fmla="*/ 412064 h 296"/>
                  <a:gd name="T46" fmla="*/ 172861 w 216"/>
                  <a:gd name="T47" fmla="*/ 500363 h 296"/>
                  <a:gd name="T48" fmla="*/ 190147 w 216"/>
                  <a:gd name="T49" fmla="*/ 515080 h 296"/>
                  <a:gd name="T50" fmla="*/ 224719 w 216"/>
                  <a:gd name="T51" fmla="*/ 515080 h 296"/>
                  <a:gd name="T52" fmla="*/ 259292 w 216"/>
                  <a:gd name="T53" fmla="*/ 544513 h 296"/>
                  <a:gd name="T54" fmla="*/ 293864 w 216"/>
                  <a:gd name="T55" fmla="*/ 544513 h 296"/>
                  <a:gd name="T56" fmla="*/ 345722 w 216"/>
                  <a:gd name="T57" fmla="*/ 529796 h 296"/>
                  <a:gd name="T58" fmla="*/ 363008 w 216"/>
                  <a:gd name="T59" fmla="*/ 515080 h 296"/>
                  <a:gd name="T60" fmla="*/ 397581 w 216"/>
                  <a:gd name="T61" fmla="*/ 515080 h 296"/>
                  <a:gd name="T62" fmla="*/ 397581 w 216"/>
                  <a:gd name="T63" fmla="*/ 500363 h 296"/>
                  <a:gd name="T64" fmla="*/ 380294 w 216"/>
                  <a:gd name="T65" fmla="*/ 485647 h 296"/>
                  <a:gd name="T66" fmla="*/ 345722 w 216"/>
                  <a:gd name="T67" fmla="*/ 441497 h 296"/>
                  <a:gd name="T68" fmla="*/ 328436 w 216"/>
                  <a:gd name="T69" fmla="*/ 426780 h 296"/>
                  <a:gd name="T70" fmla="*/ 328436 w 216"/>
                  <a:gd name="T71" fmla="*/ 412064 h 296"/>
                  <a:gd name="T72" fmla="*/ 345722 w 216"/>
                  <a:gd name="T73" fmla="*/ 412064 h 296"/>
                  <a:gd name="T74" fmla="*/ 363008 w 216"/>
                  <a:gd name="T75" fmla="*/ 353198 h 296"/>
                  <a:gd name="T76" fmla="*/ 414867 w 216"/>
                  <a:gd name="T77" fmla="*/ 279615 h 296"/>
                  <a:gd name="T78" fmla="*/ 414867 w 216"/>
                  <a:gd name="T79" fmla="*/ 250182 h 29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16"/>
                  <a:gd name="T121" fmla="*/ 0 h 296"/>
                  <a:gd name="T122" fmla="*/ 216 w 216"/>
                  <a:gd name="T123" fmla="*/ 296 h 296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9730 h 10000"/>
                  <a:gd name="connsiteX29" fmla="*/ 7778 w 10000"/>
                  <a:gd name="connsiteY29" fmla="*/ 9459 h 10000"/>
                  <a:gd name="connsiteX30" fmla="*/ 8519 w 10000"/>
                  <a:gd name="connsiteY30" fmla="*/ 9189 h 10000"/>
                  <a:gd name="connsiteX31" fmla="*/ 8148 w 10000"/>
                  <a:gd name="connsiteY31" fmla="*/ 8919 h 10000"/>
                  <a:gd name="connsiteX32" fmla="*/ 7407 w 10000"/>
                  <a:gd name="connsiteY32" fmla="*/ 8108 h 10000"/>
                  <a:gd name="connsiteX33" fmla="*/ 7037 w 10000"/>
                  <a:gd name="connsiteY33" fmla="*/ 7838 h 10000"/>
                  <a:gd name="connsiteX34" fmla="*/ 7037 w 10000"/>
                  <a:gd name="connsiteY34" fmla="*/ 7568 h 10000"/>
                  <a:gd name="connsiteX35" fmla="*/ 7407 w 10000"/>
                  <a:gd name="connsiteY35" fmla="*/ 7568 h 10000"/>
                  <a:gd name="connsiteX36" fmla="*/ 7778 w 10000"/>
                  <a:gd name="connsiteY36" fmla="*/ 6486 h 10000"/>
                  <a:gd name="connsiteX37" fmla="*/ 8889 w 10000"/>
                  <a:gd name="connsiteY37" fmla="*/ 5135 h 10000"/>
                  <a:gd name="connsiteX38" fmla="*/ 8889 w 10000"/>
                  <a:gd name="connsiteY38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9730 h 10000"/>
                  <a:gd name="connsiteX29" fmla="*/ 7778 w 10000"/>
                  <a:gd name="connsiteY29" fmla="*/ 9459 h 10000"/>
                  <a:gd name="connsiteX30" fmla="*/ 8148 w 10000"/>
                  <a:gd name="connsiteY30" fmla="*/ 8919 h 10000"/>
                  <a:gd name="connsiteX31" fmla="*/ 7407 w 10000"/>
                  <a:gd name="connsiteY31" fmla="*/ 8108 h 10000"/>
                  <a:gd name="connsiteX32" fmla="*/ 7037 w 10000"/>
                  <a:gd name="connsiteY32" fmla="*/ 7838 h 10000"/>
                  <a:gd name="connsiteX33" fmla="*/ 7037 w 10000"/>
                  <a:gd name="connsiteY33" fmla="*/ 7568 h 10000"/>
                  <a:gd name="connsiteX34" fmla="*/ 7407 w 10000"/>
                  <a:gd name="connsiteY34" fmla="*/ 7568 h 10000"/>
                  <a:gd name="connsiteX35" fmla="*/ 7778 w 10000"/>
                  <a:gd name="connsiteY35" fmla="*/ 6486 h 10000"/>
                  <a:gd name="connsiteX36" fmla="*/ 8889 w 10000"/>
                  <a:gd name="connsiteY36" fmla="*/ 5135 h 10000"/>
                  <a:gd name="connsiteX37" fmla="*/ 8889 w 10000"/>
                  <a:gd name="connsiteY37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9730 h 10000"/>
                  <a:gd name="connsiteX29" fmla="*/ 7778 w 10000"/>
                  <a:gd name="connsiteY29" fmla="*/ 9459 h 10000"/>
                  <a:gd name="connsiteX30" fmla="*/ 7407 w 10000"/>
                  <a:gd name="connsiteY30" fmla="*/ 8108 h 10000"/>
                  <a:gd name="connsiteX31" fmla="*/ 7037 w 10000"/>
                  <a:gd name="connsiteY31" fmla="*/ 7838 h 10000"/>
                  <a:gd name="connsiteX32" fmla="*/ 7037 w 10000"/>
                  <a:gd name="connsiteY32" fmla="*/ 7568 h 10000"/>
                  <a:gd name="connsiteX33" fmla="*/ 7407 w 10000"/>
                  <a:gd name="connsiteY33" fmla="*/ 7568 h 10000"/>
                  <a:gd name="connsiteX34" fmla="*/ 7778 w 10000"/>
                  <a:gd name="connsiteY34" fmla="*/ 6486 h 10000"/>
                  <a:gd name="connsiteX35" fmla="*/ 8889 w 10000"/>
                  <a:gd name="connsiteY35" fmla="*/ 5135 h 10000"/>
                  <a:gd name="connsiteX36" fmla="*/ 8889 w 10000"/>
                  <a:gd name="connsiteY36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9730 h 10000"/>
                  <a:gd name="connsiteX29" fmla="*/ 7407 w 10000"/>
                  <a:gd name="connsiteY29" fmla="*/ 8108 h 10000"/>
                  <a:gd name="connsiteX30" fmla="*/ 7037 w 10000"/>
                  <a:gd name="connsiteY30" fmla="*/ 7838 h 10000"/>
                  <a:gd name="connsiteX31" fmla="*/ 7037 w 10000"/>
                  <a:gd name="connsiteY31" fmla="*/ 7568 h 10000"/>
                  <a:gd name="connsiteX32" fmla="*/ 7407 w 10000"/>
                  <a:gd name="connsiteY32" fmla="*/ 7568 h 10000"/>
                  <a:gd name="connsiteX33" fmla="*/ 7778 w 10000"/>
                  <a:gd name="connsiteY33" fmla="*/ 6486 h 10000"/>
                  <a:gd name="connsiteX34" fmla="*/ 8889 w 10000"/>
                  <a:gd name="connsiteY34" fmla="*/ 5135 h 10000"/>
                  <a:gd name="connsiteX35" fmla="*/ 8889 w 10000"/>
                  <a:gd name="connsiteY35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6296 w 10000"/>
                  <a:gd name="connsiteY27" fmla="*/ 10000 h 10000"/>
                  <a:gd name="connsiteX28" fmla="*/ 7407 w 10000"/>
                  <a:gd name="connsiteY28" fmla="*/ 8108 h 10000"/>
                  <a:gd name="connsiteX29" fmla="*/ 7037 w 10000"/>
                  <a:gd name="connsiteY29" fmla="*/ 7838 h 10000"/>
                  <a:gd name="connsiteX30" fmla="*/ 7037 w 10000"/>
                  <a:gd name="connsiteY30" fmla="*/ 7568 h 10000"/>
                  <a:gd name="connsiteX31" fmla="*/ 7407 w 10000"/>
                  <a:gd name="connsiteY31" fmla="*/ 7568 h 10000"/>
                  <a:gd name="connsiteX32" fmla="*/ 7778 w 10000"/>
                  <a:gd name="connsiteY32" fmla="*/ 6486 h 10000"/>
                  <a:gd name="connsiteX33" fmla="*/ 8889 w 10000"/>
                  <a:gd name="connsiteY33" fmla="*/ 5135 h 10000"/>
                  <a:gd name="connsiteX34" fmla="*/ 8889 w 10000"/>
                  <a:gd name="connsiteY34" fmla="*/ 4595 h 10000"/>
                  <a:gd name="connsiteX0" fmla="*/ 8889 w 10000"/>
                  <a:gd name="connsiteY0" fmla="*/ 4595 h 10000"/>
                  <a:gd name="connsiteX1" fmla="*/ 9259 w 10000"/>
                  <a:gd name="connsiteY1" fmla="*/ 3243 h 10000"/>
                  <a:gd name="connsiteX2" fmla="*/ 10000 w 10000"/>
                  <a:gd name="connsiteY2" fmla="*/ 2973 h 10000"/>
                  <a:gd name="connsiteX3" fmla="*/ 10000 w 10000"/>
                  <a:gd name="connsiteY3" fmla="*/ 2703 h 10000"/>
                  <a:gd name="connsiteX4" fmla="*/ 9630 w 10000"/>
                  <a:gd name="connsiteY4" fmla="*/ 2432 h 10000"/>
                  <a:gd name="connsiteX5" fmla="*/ 8889 w 10000"/>
                  <a:gd name="connsiteY5" fmla="*/ 541 h 10000"/>
                  <a:gd name="connsiteX6" fmla="*/ 8148 w 10000"/>
                  <a:gd name="connsiteY6" fmla="*/ 270 h 10000"/>
                  <a:gd name="connsiteX7" fmla="*/ 8148 w 10000"/>
                  <a:gd name="connsiteY7" fmla="*/ 0 h 10000"/>
                  <a:gd name="connsiteX8" fmla="*/ 7407 w 10000"/>
                  <a:gd name="connsiteY8" fmla="*/ 541 h 10000"/>
                  <a:gd name="connsiteX9" fmla="*/ 6667 w 10000"/>
                  <a:gd name="connsiteY9" fmla="*/ 541 h 10000"/>
                  <a:gd name="connsiteX10" fmla="*/ 1852 w 10000"/>
                  <a:gd name="connsiteY10" fmla="*/ 541 h 10000"/>
                  <a:gd name="connsiteX11" fmla="*/ 1852 w 10000"/>
                  <a:gd name="connsiteY11" fmla="*/ 1622 h 10000"/>
                  <a:gd name="connsiteX12" fmla="*/ 1111 w 10000"/>
                  <a:gd name="connsiteY12" fmla="*/ 1622 h 10000"/>
                  <a:gd name="connsiteX13" fmla="*/ 1111 w 10000"/>
                  <a:gd name="connsiteY13" fmla="*/ 1892 h 10000"/>
                  <a:gd name="connsiteX14" fmla="*/ 1111 w 10000"/>
                  <a:gd name="connsiteY14" fmla="*/ 3514 h 10000"/>
                  <a:gd name="connsiteX15" fmla="*/ 1111 w 10000"/>
                  <a:gd name="connsiteY15" fmla="*/ 3784 h 10000"/>
                  <a:gd name="connsiteX16" fmla="*/ 741 w 10000"/>
                  <a:gd name="connsiteY16" fmla="*/ 3784 h 10000"/>
                  <a:gd name="connsiteX17" fmla="*/ 0 w 10000"/>
                  <a:gd name="connsiteY17" fmla="*/ 5135 h 10000"/>
                  <a:gd name="connsiteX18" fmla="*/ 741 w 10000"/>
                  <a:gd name="connsiteY18" fmla="*/ 5946 h 10000"/>
                  <a:gd name="connsiteX19" fmla="*/ 370 w 10000"/>
                  <a:gd name="connsiteY19" fmla="*/ 6216 h 10000"/>
                  <a:gd name="connsiteX20" fmla="*/ 1111 w 10000"/>
                  <a:gd name="connsiteY20" fmla="*/ 6757 h 10000"/>
                  <a:gd name="connsiteX21" fmla="*/ 1111 w 10000"/>
                  <a:gd name="connsiteY21" fmla="*/ 7297 h 10000"/>
                  <a:gd name="connsiteX22" fmla="*/ 1852 w 10000"/>
                  <a:gd name="connsiteY22" fmla="*/ 7568 h 10000"/>
                  <a:gd name="connsiteX23" fmla="*/ 3704 w 10000"/>
                  <a:gd name="connsiteY23" fmla="*/ 9189 h 10000"/>
                  <a:gd name="connsiteX24" fmla="*/ 4074 w 10000"/>
                  <a:gd name="connsiteY24" fmla="*/ 9459 h 10000"/>
                  <a:gd name="connsiteX25" fmla="*/ 4815 w 10000"/>
                  <a:gd name="connsiteY25" fmla="*/ 9459 h 10000"/>
                  <a:gd name="connsiteX26" fmla="*/ 5556 w 10000"/>
                  <a:gd name="connsiteY26" fmla="*/ 10000 h 10000"/>
                  <a:gd name="connsiteX27" fmla="*/ 7407 w 10000"/>
                  <a:gd name="connsiteY27" fmla="*/ 8108 h 10000"/>
                  <a:gd name="connsiteX28" fmla="*/ 7037 w 10000"/>
                  <a:gd name="connsiteY28" fmla="*/ 7838 h 10000"/>
                  <a:gd name="connsiteX29" fmla="*/ 7037 w 10000"/>
                  <a:gd name="connsiteY29" fmla="*/ 7568 h 10000"/>
                  <a:gd name="connsiteX30" fmla="*/ 7407 w 10000"/>
                  <a:gd name="connsiteY30" fmla="*/ 7568 h 10000"/>
                  <a:gd name="connsiteX31" fmla="*/ 7778 w 10000"/>
                  <a:gd name="connsiteY31" fmla="*/ 6486 h 10000"/>
                  <a:gd name="connsiteX32" fmla="*/ 8889 w 10000"/>
                  <a:gd name="connsiteY32" fmla="*/ 5135 h 10000"/>
                  <a:gd name="connsiteX33" fmla="*/ 8889 w 10000"/>
                  <a:gd name="connsiteY33" fmla="*/ 4595 h 10000"/>
                  <a:gd name="connsiteX0" fmla="*/ 8889 w 10000"/>
                  <a:gd name="connsiteY0" fmla="*/ 4595 h 9459"/>
                  <a:gd name="connsiteX1" fmla="*/ 9259 w 10000"/>
                  <a:gd name="connsiteY1" fmla="*/ 3243 h 9459"/>
                  <a:gd name="connsiteX2" fmla="*/ 10000 w 10000"/>
                  <a:gd name="connsiteY2" fmla="*/ 2973 h 9459"/>
                  <a:gd name="connsiteX3" fmla="*/ 10000 w 10000"/>
                  <a:gd name="connsiteY3" fmla="*/ 2703 h 9459"/>
                  <a:gd name="connsiteX4" fmla="*/ 9630 w 10000"/>
                  <a:gd name="connsiteY4" fmla="*/ 2432 h 9459"/>
                  <a:gd name="connsiteX5" fmla="*/ 8889 w 10000"/>
                  <a:gd name="connsiteY5" fmla="*/ 541 h 9459"/>
                  <a:gd name="connsiteX6" fmla="*/ 8148 w 10000"/>
                  <a:gd name="connsiteY6" fmla="*/ 270 h 9459"/>
                  <a:gd name="connsiteX7" fmla="*/ 8148 w 10000"/>
                  <a:gd name="connsiteY7" fmla="*/ 0 h 9459"/>
                  <a:gd name="connsiteX8" fmla="*/ 7407 w 10000"/>
                  <a:gd name="connsiteY8" fmla="*/ 541 h 9459"/>
                  <a:gd name="connsiteX9" fmla="*/ 6667 w 10000"/>
                  <a:gd name="connsiteY9" fmla="*/ 541 h 9459"/>
                  <a:gd name="connsiteX10" fmla="*/ 1852 w 10000"/>
                  <a:gd name="connsiteY10" fmla="*/ 541 h 9459"/>
                  <a:gd name="connsiteX11" fmla="*/ 1852 w 10000"/>
                  <a:gd name="connsiteY11" fmla="*/ 1622 h 9459"/>
                  <a:gd name="connsiteX12" fmla="*/ 1111 w 10000"/>
                  <a:gd name="connsiteY12" fmla="*/ 1622 h 9459"/>
                  <a:gd name="connsiteX13" fmla="*/ 1111 w 10000"/>
                  <a:gd name="connsiteY13" fmla="*/ 1892 h 9459"/>
                  <a:gd name="connsiteX14" fmla="*/ 1111 w 10000"/>
                  <a:gd name="connsiteY14" fmla="*/ 3514 h 9459"/>
                  <a:gd name="connsiteX15" fmla="*/ 1111 w 10000"/>
                  <a:gd name="connsiteY15" fmla="*/ 3784 h 9459"/>
                  <a:gd name="connsiteX16" fmla="*/ 741 w 10000"/>
                  <a:gd name="connsiteY16" fmla="*/ 3784 h 9459"/>
                  <a:gd name="connsiteX17" fmla="*/ 0 w 10000"/>
                  <a:gd name="connsiteY17" fmla="*/ 5135 h 9459"/>
                  <a:gd name="connsiteX18" fmla="*/ 741 w 10000"/>
                  <a:gd name="connsiteY18" fmla="*/ 5946 h 9459"/>
                  <a:gd name="connsiteX19" fmla="*/ 370 w 10000"/>
                  <a:gd name="connsiteY19" fmla="*/ 6216 h 9459"/>
                  <a:gd name="connsiteX20" fmla="*/ 1111 w 10000"/>
                  <a:gd name="connsiteY20" fmla="*/ 6757 h 9459"/>
                  <a:gd name="connsiteX21" fmla="*/ 1111 w 10000"/>
                  <a:gd name="connsiteY21" fmla="*/ 7297 h 9459"/>
                  <a:gd name="connsiteX22" fmla="*/ 1852 w 10000"/>
                  <a:gd name="connsiteY22" fmla="*/ 7568 h 9459"/>
                  <a:gd name="connsiteX23" fmla="*/ 3704 w 10000"/>
                  <a:gd name="connsiteY23" fmla="*/ 9189 h 9459"/>
                  <a:gd name="connsiteX24" fmla="*/ 4074 w 10000"/>
                  <a:gd name="connsiteY24" fmla="*/ 9459 h 9459"/>
                  <a:gd name="connsiteX25" fmla="*/ 4815 w 10000"/>
                  <a:gd name="connsiteY25" fmla="*/ 9459 h 9459"/>
                  <a:gd name="connsiteX26" fmla="*/ 7407 w 10000"/>
                  <a:gd name="connsiteY26" fmla="*/ 8108 h 9459"/>
                  <a:gd name="connsiteX27" fmla="*/ 7037 w 10000"/>
                  <a:gd name="connsiteY27" fmla="*/ 7838 h 9459"/>
                  <a:gd name="connsiteX28" fmla="*/ 7037 w 10000"/>
                  <a:gd name="connsiteY28" fmla="*/ 7568 h 9459"/>
                  <a:gd name="connsiteX29" fmla="*/ 7407 w 10000"/>
                  <a:gd name="connsiteY29" fmla="*/ 7568 h 9459"/>
                  <a:gd name="connsiteX30" fmla="*/ 7778 w 10000"/>
                  <a:gd name="connsiteY30" fmla="*/ 6486 h 9459"/>
                  <a:gd name="connsiteX31" fmla="*/ 8889 w 10000"/>
                  <a:gd name="connsiteY31" fmla="*/ 5135 h 9459"/>
                  <a:gd name="connsiteX32" fmla="*/ 8889 w 10000"/>
                  <a:gd name="connsiteY32" fmla="*/ 4595 h 9459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7407 w 10000"/>
                  <a:gd name="connsiteY25" fmla="*/ 8572 h 10000"/>
                  <a:gd name="connsiteX26" fmla="*/ 7037 w 10000"/>
                  <a:gd name="connsiteY26" fmla="*/ 8286 h 10000"/>
                  <a:gd name="connsiteX27" fmla="*/ 7037 w 10000"/>
                  <a:gd name="connsiteY27" fmla="*/ 8001 h 10000"/>
                  <a:gd name="connsiteX28" fmla="*/ 7407 w 10000"/>
                  <a:gd name="connsiteY28" fmla="*/ 8001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7407 w 10000"/>
                  <a:gd name="connsiteY25" fmla="*/ 8572 h 10000"/>
                  <a:gd name="connsiteX26" fmla="*/ 7037 w 10000"/>
                  <a:gd name="connsiteY26" fmla="*/ 8286 h 10000"/>
                  <a:gd name="connsiteX27" fmla="*/ 7037 w 10000"/>
                  <a:gd name="connsiteY27" fmla="*/ 8001 h 10000"/>
                  <a:gd name="connsiteX28" fmla="*/ 7152 w 10000"/>
                  <a:gd name="connsiteY28" fmla="*/ 6845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7407 w 10000"/>
                  <a:gd name="connsiteY25" fmla="*/ 8572 h 10000"/>
                  <a:gd name="connsiteX26" fmla="*/ 7037 w 10000"/>
                  <a:gd name="connsiteY26" fmla="*/ 8286 h 10000"/>
                  <a:gd name="connsiteX27" fmla="*/ 6323 w 10000"/>
                  <a:gd name="connsiteY27" fmla="*/ 6152 h 10000"/>
                  <a:gd name="connsiteX28" fmla="*/ 7152 w 10000"/>
                  <a:gd name="connsiteY28" fmla="*/ 6845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7407 w 10000"/>
                  <a:gd name="connsiteY25" fmla="*/ 8572 h 10000"/>
                  <a:gd name="connsiteX26" fmla="*/ 5915 w 10000"/>
                  <a:gd name="connsiteY26" fmla="*/ 7408 h 10000"/>
                  <a:gd name="connsiteX27" fmla="*/ 6323 w 10000"/>
                  <a:gd name="connsiteY27" fmla="*/ 6152 h 10000"/>
                  <a:gd name="connsiteX28" fmla="*/ 7152 w 10000"/>
                  <a:gd name="connsiteY28" fmla="*/ 6845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10000"/>
                  <a:gd name="connsiteX1" fmla="*/ 9259 w 10000"/>
                  <a:gd name="connsiteY1" fmla="*/ 3428 h 10000"/>
                  <a:gd name="connsiteX2" fmla="*/ 10000 w 10000"/>
                  <a:gd name="connsiteY2" fmla="*/ 3143 h 10000"/>
                  <a:gd name="connsiteX3" fmla="*/ 10000 w 10000"/>
                  <a:gd name="connsiteY3" fmla="*/ 2858 h 10000"/>
                  <a:gd name="connsiteX4" fmla="*/ 9630 w 10000"/>
                  <a:gd name="connsiteY4" fmla="*/ 2571 h 10000"/>
                  <a:gd name="connsiteX5" fmla="*/ 8889 w 10000"/>
                  <a:gd name="connsiteY5" fmla="*/ 572 h 10000"/>
                  <a:gd name="connsiteX6" fmla="*/ 8148 w 10000"/>
                  <a:gd name="connsiteY6" fmla="*/ 285 h 10000"/>
                  <a:gd name="connsiteX7" fmla="*/ 8148 w 10000"/>
                  <a:gd name="connsiteY7" fmla="*/ 0 h 10000"/>
                  <a:gd name="connsiteX8" fmla="*/ 7407 w 10000"/>
                  <a:gd name="connsiteY8" fmla="*/ 572 h 10000"/>
                  <a:gd name="connsiteX9" fmla="*/ 6667 w 10000"/>
                  <a:gd name="connsiteY9" fmla="*/ 572 h 10000"/>
                  <a:gd name="connsiteX10" fmla="*/ 1852 w 10000"/>
                  <a:gd name="connsiteY10" fmla="*/ 572 h 10000"/>
                  <a:gd name="connsiteX11" fmla="*/ 1852 w 10000"/>
                  <a:gd name="connsiteY11" fmla="*/ 1715 h 10000"/>
                  <a:gd name="connsiteX12" fmla="*/ 1111 w 10000"/>
                  <a:gd name="connsiteY12" fmla="*/ 1715 h 10000"/>
                  <a:gd name="connsiteX13" fmla="*/ 1111 w 10000"/>
                  <a:gd name="connsiteY13" fmla="*/ 2000 h 10000"/>
                  <a:gd name="connsiteX14" fmla="*/ 1111 w 10000"/>
                  <a:gd name="connsiteY14" fmla="*/ 3715 h 10000"/>
                  <a:gd name="connsiteX15" fmla="*/ 1111 w 10000"/>
                  <a:gd name="connsiteY15" fmla="*/ 4000 h 10000"/>
                  <a:gd name="connsiteX16" fmla="*/ 741 w 10000"/>
                  <a:gd name="connsiteY16" fmla="*/ 4000 h 10000"/>
                  <a:gd name="connsiteX17" fmla="*/ 0 w 10000"/>
                  <a:gd name="connsiteY17" fmla="*/ 5429 h 10000"/>
                  <a:gd name="connsiteX18" fmla="*/ 741 w 10000"/>
                  <a:gd name="connsiteY18" fmla="*/ 6286 h 10000"/>
                  <a:gd name="connsiteX19" fmla="*/ 370 w 10000"/>
                  <a:gd name="connsiteY19" fmla="*/ 6572 h 10000"/>
                  <a:gd name="connsiteX20" fmla="*/ 1111 w 10000"/>
                  <a:gd name="connsiteY20" fmla="*/ 7143 h 10000"/>
                  <a:gd name="connsiteX21" fmla="*/ 1111 w 10000"/>
                  <a:gd name="connsiteY21" fmla="*/ 7714 h 10000"/>
                  <a:gd name="connsiteX22" fmla="*/ 1852 w 10000"/>
                  <a:gd name="connsiteY22" fmla="*/ 8001 h 10000"/>
                  <a:gd name="connsiteX23" fmla="*/ 3704 w 10000"/>
                  <a:gd name="connsiteY23" fmla="*/ 9715 h 10000"/>
                  <a:gd name="connsiteX24" fmla="*/ 4074 w 10000"/>
                  <a:gd name="connsiteY24" fmla="*/ 10000 h 10000"/>
                  <a:gd name="connsiteX25" fmla="*/ 4805 w 10000"/>
                  <a:gd name="connsiteY25" fmla="*/ 6861 h 10000"/>
                  <a:gd name="connsiteX26" fmla="*/ 5915 w 10000"/>
                  <a:gd name="connsiteY26" fmla="*/ 7408 h 10000"/>
                  <a:gd name="connsiteX27" fmla="*/ 6323 w 10000"/>
                  <a:gd name="connsiteY27" fmla="*/ 6152 h 10000"/>
                  <a:gd name="connsiteX28" fmla="*/ 7152 w 10000"/>
                  <a:gd name="connsiteY28" fmla="*/ 6845 h 10000"/>
                  <a:gd name="connsiteX29" fmla="*/ 7778 w 10000"/>
                  <a:gd name="connsiteY29" fmla="*/ 6857 h 10000"/>
                  <a:gd name="connsiteX30" fmla="*/ 8889 w 10000"/>
                  <a:gd name="connsiteY30" fmla="*/ 5429 h 10000"/>
                  <a:gd name="connsiteX31" fmla="*/ 8889 w 10000"/>
                  <a:gd name="connsiteY31" fmla="*/ 4858 h 10000"/>
                  <a:gd name="connsiteX0" fmla="*/ 8889 w 10000"/>
                  <a:gd name="connsiteY0" fmla="*/ 4858 h 9715"/>
                  <a:gd name="connsiteX1" fmla="*/ 9259 w 10000"/>
                  <a:gd name="connsiteY1" fmla="*/ 3428 h 9715"/>
                  <a:gd name="connsiteX2" fmla="*/ 10000 w 10000"/>
                  <a:gd name="connsiteY2" fmla="*/ 3143 h 9715"/>
                  <a:gd name="connsiteX3" fmla="*/ 10000 w 10000"/>
                  <a:gd name="connsiteY3" fmla="*/ 2858 h 9715"/>
                  <a:gd name="connsiteX4" fmla="*/ 9630 w 10000"/>
                  <a:gd name="connsiteY4" fmla="*/ 2571 h 9715"/>
                  <a:gd name="connsiteX5" fmla="*/ 8889 w 10000"/>
                  <a:gd name="connsiteY5" fmla="*/ 572 h 9715"/>
                  <a:gd name="connsiteX6" fmla="*/ 8148 w 10000"/>
                  <a:gd name="connsiteY6" fmla="*/ 285 h 9715"/>
                  <a:gd name="connsiteX7" fmla="*/ 8148 w 10000"/>
                  <a:gd name="connsiteY7" fmla="*/ 0 h 9715"/>
                  <a:gd name="connsiteX8" fmla="*/ 7407 w 10000"/>
                  <a:gd name="connsiteY8" fmla="*/ 572 h 9715"/>
                  <a:gd name="connsiteX9" fmla="*/ 6667 w 10000"/>
                  <a:gd name="connsiteY9" fmla="*/ 572 h 9715"/>
                  <a:gd name="connsiteX10" fmla="*/ 1852 w 10000"/>
                  <a:gd name="connsiteY10" fmla="*/ 572 h 9715"/>
                  <a:gd name="connsiteX11" fmla="*/ 1852 w 10000"/>
                  <a:gd name="connsiteY11" fmla="*/ 1715 h 9715"/>
                  <a:gd name="connsiteX12" fmla="*/ 1111 w 10000"/>
                  <a:gd name="connsiteY12" fmla="*/ 1715 h 9715"/>
                  <a:gd name="connsiteX13" fmla="*/ 1111 w 10000"/>
                  <a:gd name="connsiteY13" fmla="*/ 2000 h 9715"/>
                  <a:gd name="connsiteX14" fmla="*/ 1111 w 10000"/>
                  <a:gd name="connsiteY14" fmla="*/ 3715 h 9715"/>
                  <a:gd name="connsiteX15" fmla="*/ 1111 w 10000"/>
                  <a:gd name="connsiteY15" fmla="*/ 4000 h 9715"/>
                  <a:gd name="connsiteX16" fmla="*/ 741 w 10000"/>
                  <a:gd name="connsiteY16" fmla="*/ 4000 h 9715"/>
                  <a:gd name="connsiteX17" fmla="*/ 0 w 10000"/>
                  <a:gd name="connsiteY17" fmla="*/ 5429 h 9715"/>
                  <a:gd name="connsiteX18" fmla="*/ 741 w 10000"/>
                  <a:gd name="connsiteY18" fmla="*/ 6286 h 9715"/>
                  <a:gd name="connsiteX19" fmla="*/ 370 w 10000"/>
                  <a:gd name="connsiteY19" fmla="*/ 6572 h 9715"/>
                  <a:gd name="connsiteX20" fmla="*/ 1111 w 10000"/>
                  <a:gd name="connsiteY20" fmla="*/ 7143 h 9715"/>
                  <a:gd name="connsiteX21" fmla="*/ 1111 w 10000"/>
                  <a:gd name="connsiteY21" fmla="*/ 7714 h 9715"/>
                  <a:gd name="connsiteX22" fmla="*/ 1852 w 10000"/>
                  <a:gd name="connsiteY22" fmla="*/ 8001 h 9715"/>
                  <a:gd name="connsiteX23" fmla="*/ 3704 w 10000"/>
                  <a:gd name="connsiteY23" fmla="*/ 9715 h 9715"/>
                  <a:gd name="connsiteX24" fmla="*/ 2952 w 10000"/>
                  <a:gd name="connsiteY24" fmla="*/ 7411 h 9715"/>
                  <a:gd name="connsiteX25" fmla="*/ 4805 w 10000"/>
                  <a:gd name="connsiteY25" fmla="*/ 6861 h 9715"/>
                  <a:gd name="connsiteX26" fmla="*/ 5915 w 10000"/>
                  <a:gd name="connsiteY26" fmla="*/ 7408 h 9715"/>
                  <a:gd name="connsiteX27" fmla="*/ 6323 w 10000"/>
                  <a:gd name="connsiteY27" fmla="*/ 6152 h 9715"/>
                  <a:gd name="connsiteX28" fmla="*/ 7152 w 10000"/>
                  <a:gd name="connsiteY28" fmla="*/ 6845 h 9715"/>
                  <a:gd name="connsiteX29" fmla="*/ 7778 w 10000"/>
                  <a:gd name="connsiteY29" fmla="*/ 6857 h 9715"/>
                  <a:gd name="connsiteX30" fmla="*/ 8889 w 10000"/>
                  <a:gd name="connsiteY30" fmla="*/ 5429 h 9715"/>
                  <a:gd name="connsiteX31" fmla="*/ 8889 w 10000"/>
                  <a:gd name="connsiteY31" fmla="*/ 4858 h 9715"/>
                  <a:gd name="connsiteX0" fmla="*/ 8889 w 10000"/>
                  <a:gd name="connsiteY0" fmla="*/ 5001 h 8236"/>
                  <a:gd name="connsiteX1" fmla="*/ 9259 w 10000"/>
                  <a:gd name="connsiteY1" fmla="*/ 3529 h 8236"/>
                  <a:gd name="connsiteX2" fmla="*/ 10000 w 10000"/>
                  <a:gd name="connsiteY2" fmla="*/ 3235 h 8236"/>
                  <a:gd name="connsiteX3" fmla="*/ 10000 w 10000"/>
                  <a:gd name="connsiteY3" fmla="*/ 2942 h 8236"/>
                  <a:gd name="connsiteX4" fmla="*/ 9630 w 10000"/>
                  <a:gd name="connsiteY4" fmla="*/ 2646 h 8236"/>
                  <a:gd name="connsiteX5" fmla="*/ 8889 w 10000"/>
                  <a:gd name="connsiteY5" fmla="*/ 589 h 8236"/>
                  <a:gd name="connsiteX6" fmla="*/ 8148 w 10000"/>
                  <a:gd name="connsiteY6" fmla="*/ 293 h 8236"/>
                  <a:gd name="connsiteX7" fmla="*/ 8148 w 10000"/>
                  <a:gd name="connsiteY7" fmla="*/ 0 h 8236"/>
                  <a:gd name="connsiteX8" fmla="*/ 7407 w 10000"/>
                  <a:gd name="connsiteY8" fmla="*/ 589 h 8236"/>
                  <a:gd name="connsiteX9" fmla="*/ 6667 w 10000"/>
                  <a:gd name="connsiteY9" fmla="*/ 589 h 8236"/>
                  <a:gd name="connsiteX10" fmla="*/ 1852 w 10000"/>
                  <a:gd name="connsiteY10" fmla="*/ 589 h 8236"/>
                  <a:gd name="connsiteX11" fmla="*/ 1852 w 10000"/>
                  <a:gd name="connsiteY11" fmla="*/ 1765 h 8236"/>
                  <a:gd name="connsiteX12" fmla="*/ 1111 w 10000"/>
                  <a:gd name="connsiteY12" fmla="*/ 1765 h 8236"/>
                  <a:gd name="connsiteX13" fmla="*/ 1111 w 10000"/>
                  <a:gd name="connsiteY13" fmla="*/ 2059 h 8236"/>
                  <a:gd name="connsiteX14" fmla="*/ 1111 w 10000"/>
                  <a:gd name="connsiteY14" fmla="*/ 3824 h 8236"/>
                  <a:gd name="connsiteX15" fmla="*/ 1111 w 10000"/>
                  <a:gd name="connsiteY15" fmla="*/ 4117 h 8236"/>
                  <a:gd name="connsiteX16" fmla="*/ 741 w 10000"/>
                  <a:gd name="connsiteY16" fmla="*/ 4117 h 8236"/>
                  <a:gd name="connsiteX17" fmla="*/ 0 w 10000"/>
                  <a:gd name="connsiteY17" fmla="*/ 5588 h 8236"/>
                  <a:gd name="connsiteX18" fmla="*/ 741 w 10000"/>
                  <a:gd name="connsiteY18" fmla="*/ 6470 h 8236"/>
                  <a:gd name="connsiteX19" fmla="*/ 370 w 10000"/>
                  <a:gd name="connsiteY19" fmla="*/ 6765 h 8236"/>
                  <a:gd name="connsiteX20" fmla="*/ 1111 w 10000"/>
                  <a:gd name="connsiteY20" fmla="*/ 7353 h 8236"/>
                  <a:gd name="connsiteX21" fmla="*/ 1111 w 10000"/>
                  <a:gd name="connsiteY21" fmla="*/ 7940 h 8236"/>
                  <a:gd name="connsiteX22" fmla="*/ 1852 w 10000"/>
                  <a:gd name="connsiteY22" fmla="*/ 8236 h 8236"/>
                  <a:gd name="connsiteX23" fmla="*/ 2633 w 10000"/>
                  <a:gd name="connsiteY23" fmla="*/ 7049 h 8236"/>
                  <a:gd name="connsiteX24" fmla="*/ 2952 w 10000"/>
                  <a:gd name="connsiteY24" fmla="*/ 7628 h 8236"/>
                  <a:gd name="connsiteX25" fmla="*/ 4805 w 10000"/>
                  <a:gd name="connsiteY25" fmla="*/ 7062 h 8236"/>
                  <a:gd name="connsiteX26" fmla="*/ 5915 w 10000"/>
                  <a:gd name="connsiteY26" fmla="*/ 7625 h 8236"/>
                  <a:gd name="connsiteX27" fmla="*/ 6323 w 10000"/>
                  <a:gd name="connsiteY27" fmla="*/ 6332 h 8236"/>
                  <a:gd name="connsiteX28" fmla="*/ 7152 w 10000"/>
                  <a:gd name="connsiteY28" fmla="*/ 7046 h 8236"/>
                  <a:gd name="connsiteX29" fmla="*/ 7778 w 10000"/>
                  <a:gd name="connsiteY29" fmla="*/ 7058 h 8236"/>
                  <a:gd name="connsiteX30" fmla="*/ 8889 w 10000"/>
                  <a:gd name="connsiteY30" fmla="*/ 5588 h 8236"/>
                  <a:gd name="connsiteX31" fmla="*/ 8889 w 10000"/>
                  <a:gd name="connsiteY31" fmla="*/ 5001 h 8236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2109 w 10000"/>
                  <a:gd name="connsiteY23" fmla="*/ 9553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323 w 10000"/>
                  <a:gd name="connsiteY28" fmla="*/ 7688 h 10000"/>
                  <a:gd name="connsiteX29" fmla="*/ 7152 w 10000"/>
                  <a:gd name="connsiteY29" fmla="*/ 8555 h 10000"/>
                  <a:gd name="connsiteX30" fmla="*/ 7778 w 10000"/>
                  <a:gd name="connsiteY30" fmla="*/ 8570 h 10000"/>
                  <a:gd name="connsiteX31" fmla="*/ 8889 w 10000"/>
                  <a:gd name="connsiteY31" fmla="*/ 6785 h 10000"/>
                  <a:gd name="connsiteX32" fmla="*/ 8889 w 10000"/>
                  <a:gd name="connsiteY32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323 w 10000"/>
                  <a:gd name="connsiteY28" fmla="*/ 7688 h 10000"/>
                  <a:gd name="connsiteX29" fmla="*/ 7152 w 10000"/>
                  <a:gd name="connsiteY29" fmla="*/ 8555 h 10000"/>
                  <a:gd name="connsiteX30" fmla="*/ 7778 w 10000"/>
                  <a:gd name="connsiteY30" fmla="*/ 8570 h 10000"/>
                  <a:gd name="connsiteX31" fmla="*/ 8889 w 10000"/>
                  <a:gd name="connsiteY31" fmla="*/ 6785 h 10000"/>
                  <a:gd name="connsiteX32" fmla="*/ 8889 w 10000"/>
                  <a:gd name="connsiteY32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323 w 10000"/>
                  <a:gd name="connsiteY28" fmla="*/ 7688 h 10000"/>
                  <a:gd name="connsiteX29" fmla="*/ 7254 w 10000"/>
                  <a:gd name="connsiteY29" fmla="*/ 9017 h 10000"/>
                  <a:gd name="connsiteX30" fmla="*/ 7778 w 10000"/>
                  <a:gd name="connsiteY30" fmla="*/ 8570 h 10000"/>
                  <a:gd name="connsiteX31" fmla="*/ 8889 w 10000"/>
                  <a:gd name="connsiteY31" fmla="*/ 6785 h 10000"/>
                  <a:gd name="connsiteX32" fmla="*/ 8889 w 10000"/>
                  <a:gd name="connsiteY32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731 w 10000"/>
                  <a:gd name="connsiteY28" fmla="*/ 7515 h 10000"/>
                  <a:gd name="connsiteX29" fmla="*/ 7254 w 10000"/>
                  <a:gd name="connsiteY29" fmla="*/ 9017 h 10000"/>
                  <a:gd name="connsiteX30" fmla="*/ 7778 w 10000"/>
                  <a:gd name="connsiteY30" fmla="*/ 8570 h 10000"/>
                  <a:gd name="connsiteX31" fmla="*/ 8889 w 10000"/>
                  <a:gd name="connsiteY31" fmla="*/ 6785 h 10000"/>
                  <a:gd name="connsiteX32" fmla="*/ 8889 w 10000"/>
                  <a:gd name="connsiteY32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292 w 10000"/>
                  <a:gd name="connsiteY28" fmla="*/ 868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915 w 10000"/>
                  <a:gd name="connsiteY27" fmla="*/ 9258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805 w 10000"/>
                  <a:gd name="connsiteY26" fmla="*/ 8575 h 10000"/>
                  <a:gd name="connsiteX27" fmla="*/ 5762 w 10000"/>
                  <a:gd name="connsiteY27" fmla="*/ 9142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958 w 10000"/>
                  <a:gd name="connsiteY26" fmla="*/ 8691 h 10000"/>
                  <a:gd name="connsiteX27" fmla="*/ 5762 w 10000"/>
                  <a:gd name="connsiteY27" fmla="*/ 9142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958 w 10000"/>
                  <a:gd name="connsiteY26" fmla="*/ 8691 h 10000"/>
                  <a:gd name="connsiteX27" fmla="*/ 5762 w 10000"/>
                  <a:gd name="connsiteY27" fmla="*/ 9142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10000"/>
                  <a:gd name="connsiteX1" fmla="*/ 9259 w 10000"/>
                  <a:gd name="connsiteY1" fmla="*/ 4285 h 10000"/>
                  <a:gd name="connsiteX2" fmla="*/ 10000 w 10000"/>
                  <a:gd name="connsiteY2" fmla="*/ 3928 h 10000"/>
                  <a:gd name="connsiteX3" fmla="*/ 10000 w 10000"/>
                  <a:gd name="connsiteY3" fmla="*/ 3572 h 10000"/>
                  <a:gd name="connsiteX4" fmla="*/ 9630 w 10000"/>
                  <a:gd name="connsiteY4" fmla="*/ 3213 h 10000"/>
                  <a:gd name="connsiteX5" fmla="*/ 8889 w 10000"/>
                  <a:gd name="connsiteY5" fmla="*/ 715 h 10000"/>
                  <a:gd name="connsiteX6" fmla="*/ 8148 w 10000"/>
                  <a:gd name="connsiteY6" fmla="*/ 356 h 10000"/>
                  <a:gd name="connsiteX7" fmla="*/ 8148 w 10000"/>
                  <a:gd name="connsiteY7" fmla="*/ 0 h 10000"/>
                  <a:gd name="connsiteX8" fmla="*/ 7407 w 10000"/>
                  <a:gd name="connsiteY8" fmla="*/ 715 h 10000"/>
                  <a:gd name="connsiteX9" fmla="*/ 6667 w 10000"/>
                  <a:gd name="connsiteY9" fmla="*/ 715 h 10000"/>
                  <a:gd name="connsiteX10" fmla="*/ 1852 w 10000"/>
                  <a:gd name="connsiteY10" fmla="*/ 715 h 10000"/>
                  <a:gd name="connsiteX11" fmla="*/ 1852 w 10000"/>
                  <a:gd name="connsiteY11" fmla="*/ 2143 h 10000"/>
                  <a:gd name="connsiteX12" fmla="*/ 1111 w 10000"/>
                  <a:gd name="connsiteY12" fmla="*/ 2143 h 10000"/>
                  <a:gd name="connsiteX13" fmla="*/ 1111 w 10000"/>
                  <a:gd name="connsiteY13" fmla="*/ 2500 h 10000"/>
                  <a:gd name="connsiteX14" fmla="*/ 1111 w 10000"/>
                  <a:gd name="connsiteY14" fmla="*/ 4643 h 10000"/>
                  <a:gd name="connsiteX15" fmla="*/ 1111 w 10000"/>
                  <a:gd name="connsiteY15" fmla="*/ 4999 h 10000"/>
                  <a:gd name="connsiteX16" fmla="*/ 741 w 10000"/>
                  <a:gd name="connsiteY16" fmla="*/ 4999 h 10000"/>
                  <a:gd name="connsiteX17" fmla="*/ 0 w 10000"/>
                  <a:gd name="connsiteY17" fmla="*/ 6785 h 10000"/>
                  <a:gd name="connsiteX18" fmla="*/ 741 w 10000"/>
                  <a:gd name="connsiteY18" fmla="*/ 7856 h 10000"/>
                  <a:gd name="connsiteX19" fmla="*/ 370 w 10000"/>
                  <a:gd name="connsiteY19" fmla="*/ 8214 h 10000"/>
                  <a:gd name="connsiteX20" fmla="*/ 1111 w 10000"/>
                  <a:gd name="connsiteY20" fmla="*/ 8928 h 10000"/>
                  <a:gd name="connsiteX21" fmla="*/ 1111 w 10000"/>
                  <a:gd name="connsiteY21" fmla="*/ 9641 h 10000"/>
                  <a:gd name="connsiteX22" fmla="*/ 1852 w 10000"/>
                  <a:gd name="connsiteY22" fmla="*/ 10000 h 10000"/>
                  <a:gd name="connsiteX23" fmla="*/ 1803 w 10000"/>
                  <a:gd name="connsiteY23" fmla="*/ 8744 h 10000"/>
                  <a:gd name="connsiteX24" fmla="*/ 2633 w 10000"/>
                  <a:gd name="connsiteY24" fmla="*/ 8559 h 10000"/>
                  <a:gd name="connsiteX25" fmla="*/ 2952 w 10000"/>
                  <a:gd name="connsiteY25" fmla="*/ 9262 h 10000"/>
                  <a:gd name="connsiteX26" fmla="*/ 4958 w 10000"/>
                  <a:gd name="connsiteY26" fmla="*/ 8691 h 10000"/>
                  <a:gd name="connsiteX27" fmla="*/ 5762 w 10000"/>
                  <a:gd name="connsiteY27" fmla="*/ 9142 h 10000"/>
                  <a:gd name="connsiteX28" fmla="*/ 6292 w 10000"/>
                  <a:gd name="connsiteY28" fmla="*/ 7647 h 10000"/>
                  <a:gd name="connsiteX29" fmla="*/ 6731 w 10000"/>
                  <a:gd name="connsiteY29" fmla="*/ 7515 h 10000"/>
                  <a:gd name="connsiteX30" fmla="*/ 7254 w 10000"/>
                  <a:gd name="connsiteY30" fmla="*/ 9017 h 10000"/>
                  <a:gd name="connsiteX31" fmla="*/ 7778 w 10000"/>
                  <a:gd name="connsiteY31" fmla="*/ 8570 h 10000"/>
                  <a:gd name="connsiteX32" fmla="*/ 8889 w 10000"/>
                  <a:gd name="connsiteY32" fmla="*/ 6785 h 10000"/>
                  <a:gd name="connsiteX33" fmla="*/ 8889 w 10000"/>
                  <a:gd name="connsiteY33" fmla="*/ 6072 h 10000"/>
                  <a:gd name="connsiteX0" fmla="*/ 8889 w 10000"/>
                  <a:gd name="connsiteY0" fmla="*/ 6072 h 9884"/>
                  <a:gd name="connsiteX1" fmla="*/ 9259 w 10000"/>
                  <a:gd name="connsiteY1" fmla="*/ 4285 h 9884"/>
                  <a:gd name="connsiteX2" fmla="*/ 10000 w 10000"/>
                  <a:gd name="connsiteY2" fmla="*/ 3928 h 9884"/>
                  <a:gd name="connsiteX3" fmla="*/ 10000 w 10000"/>
                  <a:gd name="connsiteY3" fmla="*/ 3572 h 9884"/>
                  <a:gd name="connsiteX4" fmla="*/ 9630 w 10000"/>
                  <a:gd name="connsiteY4" fmla="*/ 3213 h 9884"/>
                  <a:gd name="connsiteX5" fmla="*/ 8889 w 10000"/>
                  <a:gd name="connsiteY5" fmla="*/ 715 h 9884"/>
                  <a:gd name="connsiteX6" fmla="*/ 8148 w 10000"/>
                  <a:gd name="connsiteY6" fmla="*/ 356 h 9884"/>
                  <a:gd name="connsiteX7" fmla="*/ 8148 w 10000"/>
                  <a:gd name="connsiteY7" fmla="*/ 0 h 9884"/>
                  <a:gd name="connsiteX8" fmla="*/ 7407 w 10000"/>
                  <a:gd name="connsiteY8" fmla="*/ 715 h 9884"/>
                  <a:gd name="connsiteX9" fmla="*/ 6667 w 10000"/>
                  <a:gd name="connsiteY9" fmla="*/ 715 h 9884"/>
                  <a:gd name="connsiteX10" fmla="*/ 1852 w 10000"/>
                  <a:gd name="connsiteY10" fmla="*/ 715 h 9884"/>
                  <a:gd name="connsiteX11" fmla="*/ 1852 w 10000"/>
                  <a:gd name="connsiteY11" fmla="*/ 2143 h 9884"/>
                  <a:gd name="connsiteX12" fmla="*/ 1111 w 10000"/>
                  <a:gd name="connsiteY12" fmla="*/ 2143 h 9884"/>
                  <a:gd name="connsiteX13" fmla="*/ 1111 w 10000"/>
                  <a:gd name="connsiteY13" fmla="*/ 2500 h 9884"/>
                  <a:gd name="connsiteX14" fmla="*/ 1111 w 10000"/>
                  <a:gd name="connsiteY14" fmla="*/ 4643 h 9884"/>
                  <a:gd name="connsiteX15" fmla="*/ 1111 w 10000"/>
                  <a:gd name="connsiteY15" fmla="*/ 4999 h 9884"/>
                  <a:gd name="connsiteX16" fmla="*/ 741 w 10000"/>
                  <a:gd name="connsiteY16" fmla="*/ 4999 h 9884"/>
                  <a:gd name="connsiteX17" fmla="*/ 0 w 10000"/>
                  <a:gd name="connsiteY17" fmla="*/ 6785 h 9884"/>
                  <a:gd name="connsiteX18" fmla="*/ 741 w 10000"/>
                  <a:gd name="connsiteY18" fmla="*/ 7856 h 9884"/>
                  <a:gd name="connsiteX19" fmla="*/ 370 w 10000"/>
                  <a:gd name="connsiteY19" fmla="*/ 8214 h 9884"/>
                  <a:gd name="connsiteX20" fmla="*/ 1111 w 10000"/>
                  <a:gd name="connsiteY20" fmla="*/ 8928 h 9884"/>
                  <a:gd name="connsiteX21" fmla="*/ 1111 w 10000"/>
                  <a:gd name="connsiteY21" fmla="*/ 9641 h 9884"/>
                  <a:gd name="connsiteX22" fmla="*/ 1597 w 10000"/>
                  <a:gd name="connsiteY22" fmla="*/ 9884 h 9884"/>
                  <a:gd name="connsiteX23" fmla="*/ 1803 w 10000"/>
                  <a:gd name="connsiteY23" fmla="*/ 8744 h 9884"/>
                  <a:gd name="connsiteX24" fmla="*/ 2633 w 10000"/>
                  <a:gd name="connsiteY24" fmla="*/ 8559 h 9884"/>
                  <a:gd name="connsiteX25" fmla="*/ 2952 w 10000"/>
                  <a:gd name="connsiteY25" fmla="*/ 9262 h 9884"/>
                  <a:gd name="connsiteX26" fmla="*/ 4958 w 10000"/>
                  <a:gd name="connsiteY26" fmla="*/ 8691 h 9884"/>
                  <a:gd name="connsiteX27" fmla="*/ 5762 w 10000"/>
                  <a:gd name="connsiteY27" fmla="*/ 9142 h 9884"/>
                  <a:gd name="connsiteX28" fmla="*/ 6292 w 10000"/>
                  <a:gd name="connsiteY28" fmla="*/ 7647 h 9884"/>
                  <a:gd name="connsiteX29" fmla="*/ 6731 w 10000"/>
                  <a:gd name="connsiteY29" fmla="*/ 7515 h 9884"/>
                  <a:gd name="connsiteX30" fmla="*/ 7254 w 10000"/>
                  <a:gd name="connsiteY30" fmla="*/ 9017 h 9884"/>
                  <a:gd name="connsiteX31" fmla="*/ 7778 w 10000"/>
                  <a:gd name="connsiteY31" fmla="*/ 8570 h 9884"/>
                  <a:gd name="connsiteX32" fmla="*/ 8889 w 10000"/>
                  <a:gd name="connsiteY32" fmla="*/ 6785 h 9884"/>
                  <a:gd name="connsiteX33" fmla="*/ 8889 w 10000"/>
                  <a:gd name="connsiteY33" fmla="*/ 6072 h 9884"/>
                  <a:gd name="connsiteX0" fmla="*/ 8889 w 10000"/>
                  <a:gd name="connsiteY0" fmla="*/ 6143 h 10000"/>
                  <a:gd name="connsiteX1" fmla="*/ 9259 w 10000"/>
                  <a:gd name="connsiteY1" fmla="*/ 4335 h 10000"/>
                  <a:gd name="connsiteX2" fmla="*/ 10000 w 10000"/>
                  <a:gd name="connsiteY2" fmla="*/ 3974 h 10000"/>
                  <a:gd name="connsiteX3" fmla="*/ 10000 w 10000"/>
                  <a:gd name="connsiteY3" fmla="*/ 3614 h 10000"/>
                  <a:gd name="connsiteX4" fmla="*/ 9630 w 10000"/>
                  <a:gd name="connsiteY4" fmla="*/ 3251 h 10000"/>
                  <a:gd name="connsiteX5" fmla="*/ 8889 w 10000"/>
                  <a:gd name="connsiteY5" fmla="*/ 723 h 10000"/>
                  <a:gd name="connsiteX6" fmla="*/ 8148 w 10000"/>
                  <a:gd name="connsiteY6" fmla="*/ 360 h 10000"/>
                  <a:gd name="connsiteX7" fmla="*/ 8148 w 10000"/>
                  <a:gd name="connsiteY7" fmla="*/ 0 h 10000"/>
                  <a:gd name="connsiteX8" fmla="*/ 7407 w 10000"/>
                  <a:gd name="connsiteY8" fmla="*/ 723 h 10000"/>
                  <a:gd name="connsiteX9" fmla="*/ 6667 w 10000"/>
                  <a:gd name="connsiteY9" fmla="*/ 723 h 10000"/>
                  <a:gd name="connsiteX10" fmla="*/ 1852 w 10000"/>
                  <a:gd name="connsiteY10" fmla="*/ 723 h 10000"/>
                  <a:gd name="connsiteX11" fmla="*/ 1852 w 10000"/>
                  <a:gd name="connsiteY11" fmla="*/ 2168 h 10000"/>
                  <a:gd name="connsiteX12" fmla="*/ 1111 w 10000"/>
                  <a:gd name="connsiteY12" fmla="*/ 2168 h 10000"/>
                  <a:gd name="connsiteX13" fmla="*/ 1111 w 10000"/>
                  <a:gd name="connsiteY13" fmla="*/ 2529 h 10000"/>
                  <a:gd name="connsiteX14" fmla="*/ 1111 w 10000"/>
                  <a:gd name="connsiteY14" fmla="*/ 4697 h 10000"/>
                  <a:gd name="connsiteX15" fmla="*/ 1111 w 10000"/>
                  <a:gd name="connsiteY15" fmla="*/ 5058 h 10000"/>
                  <a:gd name="connsiteX16" fmla="*/ 741 w 10000"/>
                  <a:gd name="connsiteY16" fmla="*/ 5058 h 10000"/>
                  <a:gd name="connsiteX17" fmla="*/ 0 w 10000"/>
                  <a:gd name="connsiteY17" fmla="*/ 6865 h 10000"/>
                  <a:gd name="connsiteX18" fmla="*/ 741 w 10000"/>
                  <a:gd name="connsiteY18" fmla="*/ 7948 h 10000"/>
                  <a:gd name="connsiteX19" fmla="*/ 370 w 10000"/>
                  <a:gd name="connsiteY19" fmla="*/ 8310 h 10000"/>
                  <a:gd name="connsiteX20" fmla="*/ 1111 w 10000"/>
                  <a:gd name="connsiteY20" fmla="*/ 9033 h 10000"/>
                  <a:gd name="connsiteX21" fmla="*/ 1111 w 10000"/>
                  <a:gd name="connsiteY21" fmla="*/ 9754 h 10000"/>
                  <a:gd name="connsiteX22" fmla="*/ 1597 w 10000"/>
                  <a:gd name="connsiteY22" fmla="*/ 10000 h 10000"/>
                  <a:gd name="connsiteX23" fmla="*/ 1803 w 10000"/>
                  <a:gd name="connsiteY23" fmla="*/ 8847 h 10000"/>
                  <a:gd name="connsiteX24" fmla="*/ 2582 w 10000"/>
                  <a:gd name="connsiteY24" fmla="*/ 8717 h 10000"/>
                  <a:gd name="connsiteX25" fmla="*/ 2952 w 10000"/>
                  <a:gd name="connsiteY25" fmla="*/ 9371 h 10000"/>
                  <a:gd name="connsiteX26" fmla="*/ 4958 w 10000"/>
                  <a:gd name="connsiteY26" fmla="*/ 8793 h 10000"/>
                  <a:gd name="connsiteX27" fmla="*/ 5762 w 10000"/>
                  <a:gd name="connsiteY27" fmla="*/ 9249 h 10000"/>
                  <a:gd name="connsiteX28" fmla="*/ 6292 w 10000"/>
                  <a:gd name="connsiteY28" fmla="*/ 7737 h 10000"/>
                  <a:gd name="connsiteX29" fmla="*/ 6731 w 10000"/>
                  <a:gd name="connsiteY29" fmla="*/ 7603 h 10000"/>
                  <a:gd name="connsiteX30" fmla="*/ 7254 w 10000"/>
                  <a:gd name="connsiteY30" fmla="*/ 9123 h 10000"/>
                  <a:gd name="connsiteX31" fmla="*/ 7778 w 10000"/>
                  <a:gd name="connsiteY31" fmla="*/ 8671 h 10000"/>
                  <a:gd name="connsiteX32" fmla="*/ 8889 w 10000"/>
                  <a:gd name="connsiteY32" fmla="*/ 6865 h 10000"/>
                  <a:gd name="connsiteX33" fmla="*/ 8889 w 10000"/>
                  <a:gd name="connsiteY33" fmla="*/ 6143 h 10000"/>
                  <a:gd name="connsiteX0" fmla="*/ 8889 w 10000"/>
                  <a:gd name="connsiteY0" fmla="*/ 6143 h 9879"/>
                  <a:gd name="connsiteX1" fmla="*/ 9259 w 10000"/>
                  <a:gd name="connsiteY1" fmla="*/ 4335 h 9879"/>
                  <a:gd name="connsiteX2" fmla="*/ 10000 w 10000"/>
                  <a:gd name="connsiteY2" fmla="*/ 3974 h 9879"/>
                  <a:gd name="connsiteX3" fmla="*/ 10000 w 10000"/>
                  <a:gd name="connsiteY3" fmla="*/ 3614 h 9879"/>
                  <a:gd name="connsiteX4" fmla="*/ 9630 w 10000"/>
                  <a:gd name="connsiteY4" fmla="*/ 3251 h 9879"/>
                  <a:gd name="connsiteX5" fmla="*/ 8889 w 10000"/>
                  <a:gd name="connsiteY5" fmla="*/ 723 h 9879"/>
                  <a:gd name="connsiteX6" fmla="*/ 8148 w 10000"/>
                  <a:gd name="connsiteY6" fmla="*/ 360 h 9879"/>
                  <a:gd name="connsiteX7" fmla="*/ 8148 w 10000"/>
                  <a:gd name="connsiteY7" fmla="*/ 0 h 9879"/>
                  <a:gd name="connsiteX8" fmla="*/ 7407 w 10000"/>
                  <a:gd name="connsiteY8" fmla="*/ 723 h 9879"/>
                  <a:gd name="connsiteX9" fmla="*/ 6667 w 10000"/>
                  <a:gd name="connsiteY9" fmla="*/ 723 h 9879"/>
                  <a:gd name="connsiteX10" fmla="*/ 1852 w 10000"/>
                  <a:gd name="connsiteY10" fmla="*/ 723 h 9879"/>
                  <a:gd name="connsiteX11" fmla="*/ 1852 w 10000"/>
                  <a:gd name="connsiteY11" fmla="*/ 2168 h 9879"/>
                  <a:gd name="connsiteX12" fmla="*/ 1111 w 10000"/>
                  <a:gd name="connsiteY12" fmla="*/ 2168 h 9879"/>
                  <a:gd name="connsiteX13" fmla="*/ 1111 w 10000"/>
                  <a:gd name="connsiteY13" fmla="*/ 2529 h 9879"/>
                  <a:gd name="connsiteX14" fmla="*/ 1111 w 10000"/>
                  <a:gd name="connsiteY14" fmla="*/ 4697 h 9879"/>
                  <a:gd name="connsiteX15" fmla="*/ 1111 w 10000"/>
                  <a:gd name="connsiteY15" fmla="*/ 5058 h 9879"/>
                  <a:gd name="connsiteX16" fmla="*/ 741 w 10000"/>
                  <a:gd name="connsiteY16" fmla="*/ 5058 h 9879"/>
                  <a:gd name="connsiteX17" fmla="*/ 0 w 10000"/>
                  <a:gd name="connsiteY17" fmla="*/ 6865 h 9879"/>
                  <a:gd name="connsiteX18" fmla="*/ 741 w 10000"/>
                  <a:gd name="connsiteY18" fmla="*/ 7948 h 9879"/>
                  <a:gd name="connsiteX19" fmla="*/ 370 w 10000"/>
                  <a:gd name="connsiteY19" fmla="*/ 8310 h 9879"/>
                  <a:gd name="connsiteX20" fmla="*/ 1111 w 10000"/>
                  <a:gd name="connsiteY20" fmla="*/ 9033 h 9879"/>
                  <a:gd name="connsiteX21" fmla="*/ 1111 w 10000"/>
                  <a:gd name="connsiteY21" fmla="*/ 9754 h 9879"/>
                  <a:gd name="connsiteX22" fmla="*/ 1623 w 10000"/>
                  <a:gd name="connsiteY22" fmla="*/ 9879 h 9879"/>
                  <a:gd name="connsiteX23" fmla="*/ 1803 w 10000"/>
                  <a:gd name="connsiteY23" fmla="*/ 8847 h 9879"/>
                  <a:gd name="connsiteX24" fmla="*/ 2582 w 10000"/>
                  <a:gd name="connsiteY24" fmla="*/ 8717 h 9879"/>
                  <a:gd name="connsiteX25" fmla="*/ 2952 w 10000"/>
                  <a:gd name="connsiteY25" fmla="*/ 9371 h 9879"/>
                  <a:gd name="connsiteX26" fmla="*/ 4958 w 10000"/>
                  <a:gd name="connsiteY26" fmla="*/ 8793 h 9879"/>
                  <a:gd name="connsiteX27" fmla="*/ 5762 w 10000"/>
                  <a:gd name="connsiteY27" fmla="*/ 9249 h 9879"/>
                  <a:gd name="connsiteX28" fmla="*/ 6292 w 10000"/>
                  <a:gd name="connsiteY28" fmla="*/ 7737 h 9879"/>
                  <a:gd name="connsiteX29" fmla="*/ 6731 w 10000"/>
                  <a:gd name="connsiteY29" fmla="*/ 7603 h 9879"/>
                  <a:gd name="connsiteX30" fmla="*/ 7254 w 10000"/>
                  <a:gd name="connsiteY30" fmla="*/ 9123 h 9879"/>
                  <a:gd name="connsiteX31" fmla="*/ 7778 w 10000"/>
                  <a:gd name="connsiteY31" fmla="*/ 8671 h 9879"/>
                  <a:gd name="connsiteX32" fmla="*/ 8889 w 10000"/>
                  <a:gd name="connsiteY32" fmla="*/ 6865 h 9879"/>
                  <a:gd name="connsiteX33" fmla="*/ 8889 w 10000"/>
                  <a:gd name="connsiteY33" fmla="*/ 6143 h 9879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803 w 10000"/>
                  <a:gd name="connsiteY23" fmla="*/ 8955 h 10000"/>
                  <a:gd name="connsiteX24" fmla="*/ 2582 w 10000"/>
                  <a:gd name="connsiteY24" fmla="*/ 8824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803 w 10000"/>
                  <a:gd name="connsiteY23" fmla="*/ 8955 h 10000"/>
                  <a:gd name="connsiteX24" fmla="*/ 2582 w 10000"/>
                  <a:gd name="connsiteY24" fmla="*/ 8824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582 w 10000"/>
                  <a:gd name="connsiteY24" fmla="*/ 8824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582 w 10000"/>
                  <a:gd name="connsiteY24" fmla="*/ 8824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952 w 10000"/>
                  <a:gd name="connsiteY25" fmla="*/ 9486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4958 w 10000"/>
                  <a:gd name="connsiteY26" fmla="*/ 8901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62 w 10000"/>
                  <a:gd name="connsiteY27" fmla="*/ 9362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32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235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94 w 10000"/>
                  <a:gd name="connsiteY30" fmla="*/ 9281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94 w 10000"/>
                  <a:gd name="connsiteY30" fmla="*/ 9281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28 w 10000"/>
                  <a:gd name="connsiteY30" fmla="*/ 9266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78 w 10000"/>
                  <a:gd name="connsiteY31" fmla="*/ 8777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25 w 10000"/>
                  <a:gd name="connsiteY31" fmla="*/ 8946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622 w 10000"/>
                  <a:gd name="connsiteY24" fmla="*/ 8901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25 w 10000"/>
                  <a:gd name="connsiteY31" fmla="*/ 8946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  <a:gd name="connsiteX0" fmla="*/ 8889 w 10000"/>
                  <a:gd name="connsiteY0" fmla="*/ 6218 h 10000"/>
                  <a:gd name="connsiteX1" fmla="*/ 9259 w 10000"/>
                  <a:gd name="connsiteY1" fmla="*/ 4388 h 10000"/>
                  <a:gd name="connsiteX2" fmla="*/ 10000 w 10000"/>
                  <a:gd name="connsiteY2" fmla="*/ 4023 h 10000"/>
                  <a:gd name="connsiteX3" fmla="*/ 10000 w 10000"/>
                  <a:gd name="connsiteY3" fmla="*/ 3658 h 10000"/>
                  <a:gd name="connsiteX4" fmla="*/ 9630 w 10000"/>
                  <a:gd name="connsiteY4" fmla="*/ 3291 h 10000"/>
                  <a:gd name="connsiteX5" fmla="*/ 8889 w 10000"/>
                  <a:gd name="connsiteY5" fmla="*/ 732 h 10000"/>
                  <a:gd name="connsiteX6" fmla="*/ 8148 w 10000"/>
                  <a:gd name="connsiteY6" fmla="*/ 364 h 10000"/>
                  <a:gd name="connsiteX7" fmla="*/ 8148 w 10000"/>
                  <a:gd name="connsiteY7" fmla="*/ 0 h 10000"/>
                  <a:gd name="connsiteX8" fmla="*/ 7407 w 10000"/>
                  <a:gd name="connsiteY8" fmla="*/ 732 h 10000"/>
                  <a:gd name="connsiteX9" fmla="*/ 6667 w 10000"/>
                  <a:gd name="connsiteY9" fmla="*/ 732 h 10000"/>
                  <a:gd name="connsiteX10" fmla="*/ 1852 w 10000"/>
                  <a:gd name="connsiteY10" fmla="*/ 732 h 10000"/>
                  <a:gd name="connsiteX11" fmla="*/ 1852 w 10000"/>
                  <a:gd name="connsiteY11" fmla="*/ 2195 h 10000"/>
                  <a:gd name="connsiteX12" fmla="*/ 1111 w 10000"/>
                  <a:gd name="connsiteY12" fmla="*/ 2195 h 10000"/>
                  <a:gd name="connsiteX13" fmla="*/ 1111 w 10000"/>
                  <a:gd name="connsiteY13" fmla="*/ 2560 h 10000"/>
                  <a:gd name="connsiteX14" fmla="*/ 1111 w 10000"/>
                  <a:gd name="connsiteY14" fmla="*/ 4755 h 10000"/>
                  <a:gd name="connsiteX15" fmla="*/ 1111 w 10000"/>
                  <a:gd name="connsiteY15" fmla="*/ 5120 h 10000"/>
                  <a:gd name="connsiteX16" fmla="*/ 741 w 10000"/>
                  <a:gd name="connsiteY16" fmla="*/ 5120 h 10000"/>
                  <a:gd name="connsiteX17" fmla="*/ 0 w 10000"/>
                  <a:gd name="connsiteY17" fmla="*/ 6949 h 10000"/>
                  <a:gd name="connsiteX18" fmla="*/ 741 w 10000"/>
                  <a:gd name="connsiteY18" fmla="*/ 8045 h 10000"/>
                  <a:gd name="connsiteX19" fmla="*/ 370 w 10000"/>
                  <a:gd name="connsiteY19" fmla="*/ 8412 h 10000"/>
                  <a:gd name="connsiteX20" fmla="*/ 1111 w 10000"/>
                  <a:gd name="connsiteY20" fmla="*/ 9144 h 10000"/>
                  <a:gd name="connsiteX21" fmla="*/ 1111 w 10000"/>
                  <a:gd name="connsiteY21" fmla="*/ 9873 h 10000"/>
                  <a:gd name="connsiteX22" fmla="*/ 1623 w 10000"/>
                  <a:gd name="connsiteY22" fmla="*/ 10000 h 10000"/>
                  <a:gd name="connsiteX23" fmla="*/ 1948 w 10000"/>
                  <a:gd name="connsiteY23" fmla="*/ 8955 h 10000"/>
                  <a:gd name="connsiteX24" fmla="*/ 2582 w 10000"/>
                  <a:gd name="connsiteY24" fmla="*/ 8886 h 10000"/>
                  <a:gd name="connsiteX25" fmla="*/ 2873 w 10000"/>
                  <a:gd name="connsiteY25" fmla="*/ 9547 h 10000"/>
                  <a:gd name="connsiteX26" fmla="*/ 5024 w 10000"/>
                  <a:gd name="connsiteY26" fmla="*/ 8978 h 10000"/>
                  <a:gd name="connsiteX27" fmla="*/ 5736 w 10000"/>
                  <a:gd name="connsiteY27" fmla="*/ 9454 h 10000"/>
                  <a:gd name="connsiteX28" fmla="*/ 6292 w 10000"/>
                  <a:gd name="connsiteY28" fmla="*/ 7878 h 10000"/>
                  <a:gd name="connsiteX29" fmla="*/ 6731 w 10000"/>
                  <a:gd name="connsiteY29" fmla="*/ 7696 h 10000"/>
                  <a:gd name="connsiteX30" fmla="*/ 7254 w 10000"/>
                  <a:gd name="connsiteY30" fmla="*/ 9327 h 10000"/>
                  <a:gd name="connsiteX31" fmla="*/ 7725 w 10000"/>
                  <a:gd name="connsiteY31" fmla="*/ 8946 h 10000"/>
                  <a:gd name="connsiteX32" fmla="*/ 8889 w 10000"/>
                  <a:gd name="connsiteY32" fmla="*/ 6949 h 10000"/>
                  <a:gd name="connsiteX33" fmla="*/ 8889 w 10000"/>
                  <a:gd name="connsiteY33" fmla="*/ 621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0000" h="10000">
                    <a:moveTo>
                      <a:pt x="8889" y="6218"/>
                    </a:moveTo>
                    <a:cubicBezTo>
                      <a:pt x="9012" y="5608"/>
                      <a:pt x="9136" y="4998"/>
                      <a:pt x="9259" y="4388"/>
                    </a:cubicBezTo>
                    <a:lnTo>
                      <a:pt x="10000" y="4023"/>
                    </a:lnTo>
                    <a:lnTo>
                      <a:pt x="10000" y="3658"/>
                    </a:lnTo>
                    <a:lnTo>
                      <a:pt x="9630" y="3291"/>
                    </a:lnTo>
                    <a:lnTo>
                      <a:pt x="8889" y="732"/>
                    </a:lnTo>
                    <a:lnTo>
                      <a:pt x="8148" y="364"/>
                    </a:lnTo>
                    <a:lnTo>
                      <a:pt x="8148" y="0"/>
                    </a:lnTo>
                    <a:lnTo>
                      <a:pt x="7407" y="732"/>
                    </a:lnTo>
                    <a:lnTo>
                      <a:pt x="6667" y="732"/>
                    </a:lnTo>
                    <a:lnTo>
                      <a:pt x="1852" y="732"/>
                    </a:lnTo>
                    <a:lnTo>
                      <a:pt x="1852" y="2195"/>
                    </a:lnTo>
                    <a:lnTo>
                      <a:pt x="1111" y="2195"/>
                    </a:lnTo>
                    <a:lnTo>
                      <a:pt x="1111" y="2560"/>
                    </a:lnTo>
                    <a:lnTo>
                      <a:pt x="1111" y="4755"/>
                    </a:lnTo>
                    <a:lnTo>
                      <a:pt x="1111" y="5120"/>
                    </a:lnTo>
                    <a:lnTo>
                      <a:pt x="741" y="5120"/>
                    </a:lnTo>
                    <a:lnTo>
                      <a:pt x="0" y="6949"/>
                    </a:lnTo>
                    <a:lnTo>
                      <a:pt x="741" y="8045"/>
                    </a:lnTo>
                    <a:lnTo>
                      <a:pt x="370" y="8412"/>
                    </a:lnTo>
                    <a:lnTo>
                      <a:pt x="1111" y="9144"/>
                    </a:lnTo>
                    <a:lnTo>
                      <a:pt x="1111" y="9873"/>
                    </a:lnTo>
                    <a:lnTo>
                      <a:pt x="1623" y="10000"/>
                    </a:lnTo>
                    <a:cubicBezTo>
                      <a:pt x="1726" y="9556"/>
                      <a:pt x="1805" y="9385"/>
                      <a:pt x="1948" y="8955"/>
                    </a:cubicBezTo>
                    <a:lnTo>
                      <a:pt x="2582" y="8886"/>
                    </a:lnTo>
                    <a:cubicBezTo>
                      <a:pt x="2666" y="9101"/>
                      <a:pt x="2789" y="9332"/>
                      <a:pt x="2873" y="9547"/>
                    </a:cubicBezTo>
                    <a:lnTo>
                      <a:pt x="5024" y="8978"/>
                    </a:lnTo>
                    <a:lnTo>
                      <a:pt x="5736" y="9454"/>
                    </a:lnTo>
                    <a:cubicBezTo>
                      <a:pt x="5941" y="8936"/>
                      <a:pt x="6166" y="8427"/>
                      <a:pt x="6292" y="7878"/>
                    </a:cubicBezTo>
                    <a:lnTo>
                      <a:pt x="6731" y="7696"/>
                    </a:lnTo>
                    <a:cubicBezTo>
                      <a:pt x="6756" y="7710"/>
                      <a:pt x="7242" y="9289"/>
                      <a:pt x="7254" y="9327"/>
                    </a:cubicBezTo>
                    <a:cubicBezTo>
                      <a:pt x="7293" y="9319"/>
                      <a:pt x="7482" y="9188"/>
                      <a:pt x="7725" y="8946"/>
                    </a:cubicBezTo>
                    <a:lnTo>
                      <a:pt x="8889" y="6949"/>
                    </a:lnTo>
                    <a:lnTo>
                      <a:pt x="8889" y="621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28B57216-BB27-4149-825D-25EAD8A9E6D0}"/>
                </a:ext>
              </a:extLst>
            </p:cNvPr>
            <p:cNvSpPr/>
            <p:nvPr/>
          </p:nvSpPr>
          <p:spPr>
            <a:xfrm>
              <a:off x="5538436" y="1624000"/>
              <a:ext cx="1680532" cy="1386682"/>
            </a:xfrm>
            <a:prstGeom prst="rect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4" name="Rectangle 353">
              <a:extLst>
                <a:ext uri="{FF2B5EF4-FFF2-40B4-BE49-F238E27FC236}">
                  <a16:creationId xmlns:a16="http://schemas.microsoft.com/office/drawing/2014/main" id="{48990F14-CE5E-483E-BB5D-7148C6A599F3}"/>
                </a:ext>
              </a:extLst>
            </p:cNvPr>
            <p:cNvSpPr/>
            <p:nvPr/>
          </p:nvSpPr>
          <p:spPr>
            <a:xfrm>
              <a:off x="9639854" y="2173562"/>
              <a:ext cx="2220727" cy="3923989"/>
            </a:xfrm>
            <a:prstGeom prst="rect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5" name="Rectangle 354">
              <a:extLst>
                <a:ext uri="{FF2B5EF4-FFF2-40B4-BE49-F238E27FC236}">
                  <a16:creationId xmlns:a16="http://schemas.microsoft.com/office/drawing/2014/main" id="{87D7D7E7-0439-4391-8A32-72275FC4F38F}"/>
                </a:ext>
              </a:extLst>
            </p:cNvPr>
            <p:cNvSpPr/>
            <p:nvPr/>
          </p:nvSpPr>
          <p:spPr>
            <a:xfrm>
              <a:off x="1234337" y="1463014"/>
              <a:ext cx="3455492" cy="2026891"/>
            </a:xfrm>
            <a:prstGeom prst="rect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6" name="Rectangle 355">
              <a:extLst>
                <a:ext uri="{FF2B5EF4-FFF2-40B4-BE49-F238E27FC236}">
                  <a16:creationId xmlns:a16="http://schemas.microsoft.com/office/drawing/2014/main" id="{95DD3E92-6A41-44C3-B8EB-05FEBBCFD6D1}"/>
                </a:ext>
              </a:extLst>
            </p:cNvPr>
            <p:cNvSpPr/>
            <p:nvPr/>
          </p:nvSpPr>
          <p:spPr>
            <a:xfrm>
              <a:off x="1231745" y="6270832"/>
              <a:ext cx="176450" cy="17645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7" name="TextBox 356">
              <a:extLst>
                <a:ext uri="{FF2B5EF4-FFF2-40B4-BE49-F238E27FC236}">
                  <a16:creationId xmlns:a16="http://schemas.microsoft.com/office/drawing/2014/main" id="{80425B67-EA0B-4D2B-919E-491C0DA78D2B}"/>
                </a:ext>
              </a:extLst>
            </p:cNvPr>
            <p:cNvSpPr txBox="1"/>
            <p:nvPr/>
          </p:nvSpPr>
          <p:spPr>
            <a:xfrm>
              <a:off x="1441235" y="6228252"/>
              <a:ext cx="211504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stablished presence</a:t>
              </a:r>
              <a:endParaRPr kumimoji="0" lang="nl-B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7" name="Content Placeholder 4">
            <a:extLst>
              <a:ext uri="{FF2B5EF4-FFF2-40B4-BE49-F238E27FC236}">
                <a16:creationId xmlns:a16="http://schemas.microsoft.com/office/drawing/2014/main" id="{4987A031-DDBB-4CB5-ABAB-4D8003CE3CCA}"/>
              </a:ext>
            </a:extLst>
          </p:cNvPr>
          <p:cNvSpPr txBox="1">
            <a:spLocks/>
          </p:cNvSpPr>
          <p:nvPr/>
        </p:nvSpPr>
        <p:spPr>
          <a:xfrm>
            <a:off x="1234337" y="997080"/>
            <a:ext cx="10754484" cy="94964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  <a:prstDash val="lgDash"/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just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just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just" defTabSz="914400" rtl="0" eaLnBrk="1" latinLnBrk="0" hangingPunct="1">
              <a:spcBef>
                <a:spcPct val="20000"/>
              </a:spcBef>
              <a:buFont typeface="Wingdings" pitchFamily="2" charset="2"/>
              <a:buChar char="w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just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just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50" lvl="0" indent="0" algn="ctr">
              <a:buNone/>
              <a:defRPr/>
            </a:pPr>
            <a:r>
              <a:rPr lang="it-IT" sz="1800" dirty="0">
                <a:solidFill>
                  <a:srgbClr val="002C77"/>
                </a:solidFill>
                <a:sym typeface="Wingdings" panose="05000000000000000000" pitchFamily="2" charset="2"/>
              </a:rPr>
              <a:t>A livello globale abbiamo una presenza in oltre </a:t>
            </a:r>
            <a:r>
              <a:rPr lang="it-IT" sz="1800" b="1" dirty="0">
                <a:solidFill>
                  <a:srgbClr val="00B0F0"/>
                </a:solidFill>
                <a:sym typeface="Wingdings" panose="05000000000000000000" pitchFamily="2" charset="2"/>
              </a:rPr>
              <a:t>120 aeroporti </a:t>
            </a:r>
            <a:r>
              <a:rPr lang="it-IT" sz="1800" dirty="0">
                <a:solidFill>
                  <a:srgbClr val="002C77"/>
                </a:solidFill>
                <a:sym typeface="Wingdings" panose="05000000000000000000" pitchFamily="2" charset="2"/>
              </a:rPr>
              <a:t>e siamo presenti in </a:t>
            </a:r>
            <a:r>
              <a:rPr lang="it-IT" sz="1800" b="1" dirty="0">
                <a:solidFill>
                  <a:srgbClr val="00B0F0"/>
                </a:solidFill>
                <a:sym typeface="Wingdings" panose="05000000000000000000" pitchFamily="2" charset="2"/>
              </a:rPr>
              <a:t>20 paesi</a:t>
            </a:r>
            <a:r>
              <a:rPr lang="it-IT" sz="1800" dirty="0">
                <a:solidFill>
                  <a:srgbClr val="002C77"/>
                </a:solidFill>
                <a:sym typeface="Wingdings" panose="05000000000000000000" pitchFamily="2" charset="2"/>
              </a:rPr>
              <a:t>, l'Europa essendo la nostra regione più affermata.</a:t>
            </a:r>
          </a:p>
          <a:p>
            <a:pPr marL="19050" lvl="0" indent="0" algn="ctr">
              <a:buNone/>
              <a:defRPr/>
            </a:pPr>
            <a:r>
              <a:rPr lang="it-IT" sz="1800" dirty="0">
                <a:solidFill>
                  <a:srgbClr val="002C77"/>
                </a:solidFill>
                <a:sym typeface="Wingdings" panose="05000000000000000000" pitchFamily="2" charset="2"/>
              </a:rPr>
              <a:t>TCR ha sviluppato una rete di oltre </a:t>
            </a:r>
            <a:r>
              <a:rPr lang="it-IT" sz="1800" b="1" dirty="0">
                <a:solidFill>
                  <a:srgbClr val="00B0F0"/>
                </a:solidFill>
                <a:sym typeface="Wingdings" panose="05000000000000000000" pitchFamily="2" charset="2"/>
              </a:rPr>
              <a:t>60 officine </a:t>
            </a:r>
            <a:r>
              <a:rPr lang="it-IT" sz="1800" dirty="0">
                <a:solidFill>
                  <a:srgbClr val="002C77"/>
                </a:solidFill>
                <a:sym typeface="Wingdings" panose="05000000000000000000" pitchFamily="2" charset="2"/>
              </a:rPr>
              <a:t>distribuite in 4 continenti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E14080D5-01D8-4806-BE29-ED708C03ECA5}"/>
              </a:ext>
            </a:extLst>
          </p:cNvPr>
          <p:cNvSpPr/>
          <p:nvPr/>
        </p:nvSpPr>
        <p:spPr>
          <a:xfrm>
            <a:off x="7323002" y="3384052"/>
            <a:ext cx="1189247" cy="915337"/>
          </a:xfrm>
          <a:prstGeom prst="rect">
            <a:avLst/>
          </a:prstGeom>
          <a:noFill/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8A743418-E723-465A-940B-662E6C00898C}"/>
              </a:ext>
            </a:extLst>
          </p:cNvPr>
          <p:cNvSpPr txBox="1"/>
          <p:nvPr/>
        </p:nvSpPr>
        <p:spPr>
          <a:xfrm>
            <a:off x="7911680" y="3678912"/>
            <a:ext cx="151346" cy="2607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34CA1301-AD56-4E24-95D5-942B4C827FCC}"/>
              </a:ext>
            </a:extLst>
          </p:cNvPr>
          <p:cNvSpPr txBox="1"/>
          <p:nvPr/>
        </p:nvSpPr>
        <p:spPr>
          <a:xfrm>
            <a:off x="7768062" y="3628378"/>
            <a:ext cx="8279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hrein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719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Vantaggi della telematica sul G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773E1-9645-48F3-9513-6154753BDDA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1" name="CasellaDiTesto 44">
            <a:extLst>
              <a:ext uri="{FF2B5EF4-FFF2-40B4-BE49-F238E27FC236}">
                <a16:creationId xmlns:a16="http://schemas.microsoft.com/office/drawing/2014/main" id="{201C5E5C-F27D-4502-AAB0-99DD6B778B5A}"/>
              </a:ext>
            </a:extLst>
          </p:cNvPr>
          <p:cNvSpPr txBox="1"/>
          <p:nvPr/>
        </p:nvSpPr>
        <p:spPr>
          <a:xfrm>
            <a:off x="1227116" y="1031716"/>
            <a:ext cx="10733905" cy="59093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 aggiungere valore al servizio di </a:t>
            </a:r>
            <a:r>
              <a:rPr kumimoji="0" lang="it-IT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ndling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i servizi telematici del GSE devono rispondere a diverse esigenze, rimanendo allo stesso tempo facili da installare, </a:t>
            </a:r>
            <a:r>
              <a:rPr kumimoji="0" lang="it-IT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er-</a:t>
            </a:r>
            <a:r>
              <a:rPr kumimoji="0" lang="it-IT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iendly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convenienti ed economici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2" name="TextBox 78">
            <a:extLst>
              <a:ext uri="{FF2B5EF4-FFF2-40B4-BE49-F238E27FC236}">
                <a16:creationId xmlns:a16="http://schemas.microsoft.com/office/drawing/2014/main" id="{2A2ED8D2-DAF7-4F9E-BBFB-1EE983C1DB52}"/>
              </a:ext>
            </a:extLst>
          </p:cNvPr>
          <p:cNvSpPr txBox="1"/>
          <p:nvPr/>
        </p:nvSpPr>
        <p:spPr>
          <a:xfrm>
            <a:off x="5043540" y="1772816"/>
            <a:ext cx="6917481" cy="430887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D3370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are e ridurre i costi operativ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rantire la conformità con i requisiti di licenza e le normative aeroportual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durre il numero richiesto di GSE negli aeroporti in base alle statistiche di utilizzo, cosi riducendo la congestione in piazza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sicurarsi che solo il personale formato ed autorizzato possa utilizzare il G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gliorare l'efficienza attraverso la pianificazione delle operazioni e della manutenzion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rantire l'efficienza e la disponibilità dei veicol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rollo totale e localizzazione della flotta di G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are ed agire sui livelli di carburante e batteria del G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durre i danni e migliorare il comportamento di guida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Roboto Condensed" charset="0"/>
              <a:cs typeface="Roboto Condensed" charset="0"/>
            </a:endParaRPr>
          </a:p>
        </p:txBody>
      </p:sp>
      <p:sp>
        <p:nvSpPr>
          <p:cNvPr id="403" name="Rettangolo 1">
            <a:extLst>
              <a:ext uri="{FF2B5EF4-FFF2-40B4-BE49-F238E27FC236}">
                <a16:creationId xmlns:a16="http://schemas.microsoft.com/office/drawing/2014/main" id="{D6FDBB96-BC68-4C53-8AD3-826E9B8D8B3F}"/>
              </a:ext>
            </a:extLst>
          </p:cNvPr>
          <p:cNvSpPr/>
          <p:nvPr/>
        </p:nvSpPr>
        <p:spPr>
          <a:xfrm>
            <a:off x="1227116" y="2030875"/>
            <a:ext cx="2708644" cy="381642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D33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4" name="TextBox 78">
            <a:extLst>
              <a:ext uri="{FF2B5EF4-FFF2-40B4-BE49-F238E27FC236}">
                <a16:creationId xmlns:a16="http://schemas.microsoft.com/office/drawing/2014/main" id="{F812153C-6557-446D-81BF-CC89F881EFC0}"/>
              </a:ext>
            </a:extLst>
          </p:cNvPr>
          <p:cNvSpPr txBox="1"/>
          <p:nvPr/>
        </p:nvSpPr>
        <p:spPr>
          <a:xfrm>
            <a:off x="1271464" y="2492896"/>
            <a:ext cx="27002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Roboto Condensed" charset="0"/>
                <a:cs typeface="Roboto Condensed" charset="0"/>
              </a:rPr>
              <a:t>   SICUREZZ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Roboto Condensed" charset="0"/>
                <a:cs typeface="Roboto Condensed" charset="0"/>
              </a:rPr>
              <a:t>   </a:t>
            </a:r>
            <a:r>
              <a:rPr kumimoji="0" lang="en-US" sz="2000" b="1" i="1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Roboto Condensed" charset="0"/>
                <a:cs typeface="Roboto Condensed" charset="0"/>
              </a:rPr>
              <a:t>COMPLIANCE</a:t>
            </a:r>
            <a:r>
              <a:rPr kumimoji="0" lang="en-US" sz="2000" b="1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Roboto Condensed" charset="0"/>
                <a:cs typeface="Roboto Condensed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Roboto Condensed" charset="0"/>
                <a:cs typeface="Roboto Condensed" charset="0"/>
              </a:rPr>
              <a:t>   EFFICIENZ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Roboto Condensed" charset="0"/>
                <a:cs typeface="Roboto Condensed" charset="0"/>
              </a:rPr>
              <a:t>   DISPONIBILITA’</a:t>
            </a:r>
            <a:endParaRPr kumimoji="0" lang="en-US" sz="2000" b="1" i="0" u="none" strike="noStrike" kern="1200" cap="none" spc="30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Roboto Condensed" charset="0"/>
              <a:cs typeface="Roboto Condensed" charset="0"/>
            </a:endParaRPr>
          </a:p>
          <a:p>
            <a:pPr marL="27305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Roboto Condensed" charset="0"/>
                <a:cs typeface="Roboto Condensed" charset="0"/>
              </a:rPr>
              <a:t>COSTI OPERATIVI</a:t>
            </a:r>
          </a:p>
        </p:txBody>
      </p:sp>
      <p:sp>
        <p:nvSpPr>
          <p:cNvPr id="405" name="Segno di addizione 36">
            <a:extLst>
              <a:ext uri="{FF2B5EF4-FFF2-40B4-BE49-F238E27FC236}">
                <a16:creationId xmlns:a16="http://schemas.microsoft.com/office/drawing/2014/main" id="{560ECF7D-F63C-40F6-9CBD-71B791E8B1FD}"/>
              </a:ext>
            </a:extLst>
          </p:cNvPr>
          <p:cNvSpPr>
            <a:spLocks noChangeAspect="1"/>
          </p:cNvSpPr>
          <p:nvPr/>
        </p:nvSpPr>
        <p:spPr>
          <a:xfrm>
            <a:off x="1292938" y="2602631"/>
            <a:ext cx="216000" cy="216000"/>
          </a:xfrm>
          <a:prstGeom prst="mathPlus">
            <a:avLst/>
          </a:prstGeom>
          <a:solidFill>
            <a:srgbClr val="00B050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6" name="Segno di sottrazione 37">
            <a:extLst>
              <a:ext uri="{FF2B5EF4-FFF2-40B4-BE49-F238E27FC236}">
                <a16:creationId xmlns:a16="http://schemas.microsoft.com/office/drawing/2014/main" id="{64A4EA6A-8646-44F3-8E9E-3EB1DC2CF48A}"/>
              </a:ext>
            </a:extLst>
          </p:cNvPr>
          <p:cNvSpPr>
            <a:spLocks noChangeAspect="1"/>
          </p:cNvSpPr>
          <p:nvPr/>
        </p:nvSpPr>
        <p:spPr>
          <a:xfrm>
            <a:off x="1281974" y="4716196"/>
            <a:ext cx="252000" cy="252000"/>
          </a:xfrm>
          <a:prstGeom prst="mathMinus">
            <a:avLst/>
          </a:prstGeom>
          <a:solidFill>
            <a:srgbClr val="FF0000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7" name="Segno di addizione 38">
            <a:extLst>
              <a:ext uri="{FF2B5EF4-FFF2-40B4-BE49-F238E27FC236}">
                <a16:creationId xmlns:a16="http://schemas.microsoft.com/office/drawing/2014/main" id="{B627D4BC-2C24-44E2-97DE-3D8CDE492D52}"/>
              </a:ext>
            </a:extLst>
          </p:cNvPr>
          <p:cNvSpPr>
            <a:spLocks noChangeAspect="1"/>
          </p:cNvSpPr>
          <p:nvPr/>
        </p:nvSpPr>
        <p:spPr>
          <a:xfrm>
            <a:off x="1292484" y="3123478"/>
            <a:ext cx="216000" cy="216000"/>
          </a:xfrm>
          <a:prstGeom prst="mathPlus">
            <a:avLst/>
          </a:prstGeom>
          <a:solidFill>
            <a:srgbClr val="00B050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8" name="Segno di addizione 39">
            <a:extLst>
              <a:ext uri="{FF2B5EF4-FFF2-40B4-BE49-F238E27FC236}">
                <a16:creationId xmlns:a16="http://schemas.microsoft.com/office/drawing/2014/main" id="{CCA24B54-BE7B-4223-868E-D9DBF88F55C9}"/>
              </a:ext>
            </a:extLst>
          </p:cNvPr>
          <p:cNvSpPr>
            <a:spLocks noChangeAspect="1"/>
          </p:cNvSpPr>
          <p:nvPr/>
        </p:nvSpPr>
        <p:spPr>
          <a:xfrm>
            <a:off x="1290922" y="3664860"/>
            <a:ext cx="216000" cy="216000"/>
          </a:xfrm>
          <a:prstGeom prst="mathPlus">
            <a:avLst/>
          </a:prstGeom>
          <a:solidFill>
            <a:srgbClr val="00B050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9" name="Segno di addizione 40">
            <a:extLst>
              <a:ext uri="{FF2B5EF4-FFF2-40B4-BE49-F238E27FC236}">
                <a16:creationId xmlns:a16="http://schemas.microsoft.com/office/drawing/2014/main" id="{CDA362AF-8F88-488B-81C3-B3909C94DF6B}"/>
              </a:ext>
            </a:extLst>
          </p:cNvPr>
          <p:cNvSpPr>
            <a:spLocks noChangeAspect="1"/>
          </p:cNvSpPr>
          <p:nvPr/>
        </p:nvSpPr>
        <p:spPr>
          <a:xfrm>
            <a:off x="1292484" y="4202007"/>
            <a:ext cx="216000" cy="216000"/>
          </a:xfrm>
          <a:prstGeom prst="mathPlus">
            <a:avLst/>
          </a:prstGeom>
          <a:solidFill>
            <a:srgbClr val="00B050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0" name="Freccia a destra 3">
            <a:extLst>
              <a:ext uri="{FF2B5EF4-FFF2-40B4-BE49-F238E27FC236}">
                <a16:creationId xmlns:a16="http://schemas.microsoft.com/office/drawing/2014/main" id="{F15E2C54-6781-4122-8240-6D74B10C81F1}"/>
              </a:ext>
            </a:extLst>
          </p:cNvPr>
          <p:cNvSpPr/>
          <p:nvPr/>
        </p:nvSpPr>
        <p:spPr>
          <a:xfrm>
            <a:off x="4151784" y="2939956"/>
            <a:ext cx="711708" cy="1980192"/>
          </a:xfrm>
          <a:prstGeom prst="rightArrow">
            <a:avLst/>
          </a:prstGeom>
          <a:solidFill>
            <a:srgbClr val="00206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11" name="Picture 2" descr="https://d30y9cdsu7xlg0.cloudfront.net/png/1573389-200.png">
            <a:extLst>
              <a:ext uri="{FF2B5EF4-FFF2-40B4-BE49-F238E27FC236}">
                <a16:creationId xmlns:a16="http://schemas.microsoft.com/office/drawing/2014/main" id="{A0D2F87B-25C1-4684-A6BB-7F7BB94B5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399" y="3647204"/>
            <a:ext cx="555458" cy="555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2" name="CasellaDiTesto 15">
            <a:extLst>
              <a:ext uri="{FF2B5EF4-FFF2-40B4-BE49-F238E27FC236}">
                <a16:creationId xmlns:a16="http://schemas.microsoft.com/office/drawing/2014/main" id="{215C1D42-E1A6-4C64-95F9-A6520820704D}"/>
              </a:ext>
            </a:extLst>
          </p:cNvPr>
          <p:cNvSpPr txBox="1"/>
          <p:nvPr/>
        </p:nvSpPr>
        <p:spPr>
          <a:xfrm>
            <a:off x="1211810" y="6185220"/>
            <a:ext cx="10204218" cy="369332"/>
          </a:xfrm>
          <a:prstGeom prst="rect">
            <a:avLst/>
          </a:prstGeom>
          <a:solidFill>
            <a:srgbClr val="002060"/>
          </a:solidFill>
          <a:ln w="1905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30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soluzioni telematiche per il GSE di TCR rispondono a tutto questo!  </a:t>
            </a:r>
          </a:p>
        </p:txBody>
      </p:sp>
    </p:spTree>
    <p:extLst>
      <p:ext uri="{BB962C8B-B14F-4D97-AF65-F5344CB8AC3E}">
        <p14:creationId xmlns:p14="http://schemas.microsoft.com/office/powerpoint/2010/main" val="2350618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close up of a map&#10;&#10;Description generated with very high confidence">
            <a:extLst>
              <a:ext uri="{FF2B5EF4-FFF2-40B4-BE49-F238E27FC236}">
                <a16:creationId xmlns:a16="http://schemas.microsoft.com/office/drawing/2014/main" id="{6BC9F735-4610-4BFC-9B77-2EAF68ABEA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792" y="2450534"/>
            <a:ext cx="1631504" cy="10504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Immagine 2">
            <a:extLst>
              <a:ext uri="{FF2B5EF4-FFF2-40B4-BE49-F238E27FC236}">
                <a16:creationId xmlns:a16="http://schemas.microsoft.com/office/drawing/2014/main" id="{0AD0B9B2-E58A-4BC1-8C79-3B55E9277B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2354" y="2401563"/>
            <a:ext cx="1950381" cy="15845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unzionalità della telematica per mezzi motorizzat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773E1-9645-48F3-9513-6154753BDDA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4A6B2EB3-4462-49E1-8E7C-B83BE134E4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5630718"/>
            <a:ext cx="712431" cy="4635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23AE0BF9-E8D6-4BB1-9E28-CC32F970470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1026" y="4359161"/>
            <a:ext cx="2639805" cy="12040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49B9AEB5-BA8C-41F0-A938-3EE2E2E9DCBB}"/>
              </a:ext>
            </a:extLst>
          </p:cNvPr>
          <p:cNvSpPr/>
          <p:nvPr/>
        </p:nvSpPr>
        <p:spPr>
          <a:xfrm>
            <a:off x="1247627" y="1055429"/>
            <a:ext cx="216024" cy="288031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9" name="Flowchart: Process 18">
            <a:extLst>
              <a:ext uri="{FF2B5EF4-FFF2-40B4-BE49-F238E27FC236}">
                <a16:creationId xmlns:a16="http://schemas.microsoft.com/office/drawing/2014/main" id="{00BFABF5-4BFC-4F70-B800-8127276E8E93}"/>
              </a:ext>
            </a:extLst>
          </p:cNvPr>
          <p:cNvSpPr/>
          <p:nvPr/>
        </p:nvSpPr>
        <p:spPr>
          <a:xfrm>
            <a:off x="1463651" y="1055428"/>
            <a:ext cx="3101562" cy="28284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uscotto personalizzabile</a:t>
            </a:r>
          </a:p>
        </p:txBody>
      </p:sp>
      <p:sp>
        <p:nvSpPr>
          <p:cNvPr id="20" name="Rettangolo 4">
            <a:extLst>
              <a:ext uri="{FF2B5EF4-FFF2-40B4-BE49-F238E27FC236}">
                <a16:creationId xmlns:a16="http://schemas.microsoft.com/office/drawing/2014/main" id="{A6D19DCB-EC24-4294-BEC1-A2C1E8CC7F02}"/>
              </a:ext>
            </a:extLst>
          </p:cNvPr>
          <p:cNvSpPr/>
          <p:nvPr/>
        </p:nvSpPr>
        <p:spPr>
          <a:xfrm>
            <a:off x="1247627" y="1311229"/>
            <a:ext cx="3288877" cy="2444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sng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dgets</a:t>
            </a:r>
            <a:r>
              <a:rPr kumimoji="0" lang="it-IT" sz="14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ersonalizzabili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182563" marR="0" lvl="0" indent="-18256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itoraggio collisioni (ultimi 30 gg.)</a:t>
            </a:r>
          </a:p>
          <a:p>
            <a:pPr marL="182563" marR="0" lvl="0" indent="-18256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itoraggio singolo mezzo</a:t>
            </a:r>
          </a:p>
          <a:p>
            <a:pPr marL="182563" marR="0" lvl="0" indent="-18256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noramica percorrenze</a:t>
            </a:r>
          </a:p>
          <a:p>
            <a:pPr marL="182563" marR="0" lvl="0" indent="-18256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mpi morti</a:t>
            </a:r>
          </a:p>
          <a:p>
            <a:pPr marL="182563" marR="0" lvl="0" indent="-18256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mero di mezzi senza scarico dati (stato di controllo del sistema)</a:t>
            </a:r>
          </a:p>
          <a:p>
            <a:pPr marL="182563" marR="0" lvl="0" indent="-18256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vello di carica della batteria del mezzo</a:t>
            </a:r>
          </a:p>
          <a:p>
            <a:pPr marL="182563" marR="0" lvl="0" indent="-18256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us operativo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1" name="Immagine 2">
            <a:extLst>
              <a:ext uri="{FF2B5EF4-FFF2-40B4-BE49-F238E27FC236}">
                <a16:creationId xmlns:a16="http://schemas.microsoft.com/office/drawing/2014/main" id="{AE469D1B-0B2A-43F5-9075-A768C2AD21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488" y="4286277"/>
            <a:ext cx="2760141" cy="1879027"/>
          </a:xfrm>
          <a:prstGeom prst="rect">
            <a:avLst/>
          </a:prstGeom>
        </p:spPr>
      </p:pic>
      <p:sp>
        <p:nvSpPr>
          <p:cNvPr id="22" name="Flowchart: Process 21">
            <a:extLst>
              <a:ext uri="{FF2B5EF4-FFF2-40B4-BE49-F238E27FC236}">
                <a16:creationId xmlns:a16="http://schemas.microsoft.com/office/drawing/2014/main" id="{DC96B303-DF72-40F6-BA60-0A01F55738EA}"/>
              </a:ext>
            </a:extLst>
          </p:cNvPr>
          <p:cNvSpPr/>
          <p:nvPr/>
        </p:nvSpPr>
        <p:spPr>
          <a:xfrm>
            <a:off x="1247627" y="1055428"/>
            <a:ext cx="3288877" cy="5294394"/>
          </a:xfrm>
          <a:prstGeom prst="flowChartProcess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Flowchart: Process 22">
            <a:extLst>
              <a:ext uri="{FF2B5EF4-FFF2-40B4-BE49-F238E27FC236}">
                <a16:creationId xmlns:a16="http://schemas.microsoft.com/office/drawing/2014/main" id="{9D4F4402-58CE-4FB9-822B-F6B9A0AD7AC0}"/>
              </a:ext>
            </a:extLst>
          </p:cNvPr>
          <p:cNvSpPr/>
          <p:nvPr/>
        </p:nvSpPr>
        <p:spPr>
          <a:xfrm>
            <a:off x="4820713" y="1055429"/>
            <a:ext cx="216024" cy="288031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24" name="Flowchart: Process 23">
            <a:extLst>
              <a:ext uri="{FF2B5EF4-FFF2-40B4-BE49-F238E27FC236}">
                <a16:creationId xmlns:a16="http://schemas.microsoft.com/office/drawing/2014/main" id="{B4492882-A25A-46C6-BCF0-F790A9B71E87}"/>
              </a:ext>
            </a:extLst>
          </p:cNvPr>
          <p:cNvSpPr/>
          <p:nvPr/>
        </p:nvSpPr>
        <p:spPr>
          <a:xfrm>
            <a:off x="5036737" y="1055428"/>
            <a:ext cx="3101562" cy="28284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ppe in tempo real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ttangolo 4">
            <a:extLst>
              <a:ext uri="{FF2B5EF4-FFF2-40B4-BE49-F238E27FC236}">
                <a16:creationId xmlns:a16="http://schemas.microsoft.com/office/drawing/2014/main" id="{113CDC77-8022-4E41-8AD8-B063CD56243B}"/>
              </a:ext>
            </a:extLst>
          </p:cNvPr>
          <p:cNvSpPr/>
          <p:nvPr/>
        </p:nvSpPr>
        <p:spPr>
          <a:xfrm>
            <a:off x="4799856" y="1397509"/>
            <a:ext cx="3288877" cy="1445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aggio della geolocalizzazione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 mezzo o flotta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o per raggruppamento a video </a:t>
            </a:r>
          </a:p>
          <a:p>
            <a:pPr marL="182563" marR="0" lvl="0" indent="-182563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a le mappe aeroportuali oltre a quelle standard </a:t>
            </a:r>
          </a:p>
        </p:txBody>
      </p:sp>
      <p:sp>
        <p:nvSpPr>
          <p:cNvPr id="26" name="Flowchart: Process 25">
            <a:extLst>
              <a:ext uri="{FF2B5EF4-FFF2-40B4-BE49-F238E27FC236}">
                <a16:creationId xmlns:a16="http://schemas.microsoft.com/office/drawing/2014/main" id="{5FEC730F-AA71-43D5-9D15-2816A81239D5}"/>
              </a:ext>
            </a:extLst>
          </p:cNvPr>
          <p:cNvSpPr/>
          <p:nvPr/>
        </p:nvSpPr>
        <p:spPr>
          <a:xfrm>
            <a:off x="4820713" y="1055428"/>
            <a:ext cx="3288877" cy="4605820"/>
          </a:xfrm>
          <a:prstGeom prst="flowChartProcess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Flowchart: Process 26">
            <a:extLst>
              <a:ext uri="{FF2B5EF4-FFF2-40B4-BE49-F238E27FC236}">
                <a16:creationId xmlns:a16="http://schemas.microsoft.com/office/drawing/2014/main" id="{EE3A434A-9836-4F7D-A55C-83AAA347CC29}"/>
              </a:ext>
            </a:extLst>
          </p:cNvPr>
          <p:cNvSpPr/>
          <p:nvPr/>
        </p:nvSpPr>
        <p:spPr>
          <a:xfrm>
            <a:off x="8443747" y="1052737"/>
            <a:ext cx="216024" cy="288031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28" name="Flowchart: Process 27">
            <a:extLst>
              <a:ext uri="{FF2B5EF4-FFF2-40B4-BE49-F238E27FC236}">
                <a16:creationId xmlns:a16="http://schemas.microsoft.com/office/drawing/2014/main" id="{BD5E8C25-2BCF-48D9-94BB-8724C77E56CB}"/>
              </a:ext>
            </a:extLst>
          </p:cNvPr>
          <p:cNvSpPr/>
          <p:nvPr/>
        </p:nvSpPr>
        <p:spPr>
          <a:xfrm>
            <a:off x="8659771" y="1052736"/>
            <a:ext cx="3101562" cy="28284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cking: Location data</a:t>
            </a:r>
          </a:p>
        </p:txBody>
      </p:sp>
      <p:sp>
        <p:nvSpPr>
          <p:cNvPr id="29" name="Rettangolo 4">
            <a:extLst>
              <a:ext uri="{FF2B5EF4-FFF2-40B4-BE49-F238E27FC236}">
                <a16:creationId xmlns:a16="http://schemas.microsoft.com/office/drawing/2014/main" id="{099D7BF2-06AE-4D5A-BF64-BE3581AA2F92}"/>
              </a:ext>
            </a:extLst>
          </p:cNvPr>
          <p:cNvSpPr/>
          <p:nvPr/>
        </p:nvSpPr>
        <p:spPr>
          <a:xfrm>
            <a:off x="8443747" y="1308537"/>
            <a:ext cx="3288877" cy="1076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orico dei Dati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marR="0" lvl="0" indent="-17621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sta dello storico della posizione sulla mappa (per mezzo / giorno /settimana) 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lay del posizionamento</a:t>
            </a:r>
          </a:p>
        </p:txBody>
      </p:sp>
      <p:sp>
        <p:nvSpPr>
          <p:cNvPr id="30" name="Flowchart: Process 29">
            <a:extLst>
              <a:ext uri="{FF2B5EF4-FFF2-40B4-BE49-F238E27FC236}">
                <a16:creationId xmlns:a16="http://schemas.microsoft.com/office/drawing/2014/main" id="{79592678-5C8E-47E6-88CA-0E854270661C}"/>
              </a:ext>
            </a:extLst>
          </p:cNvPr>
          <p:cNvSpPr/>
          <p:nvPr/>
        </p:nvSpPr>
        <p:spPr>
          <a:xfrm>
            <a:off x="8443747" y="1052737"/>
            <a:ext cx="3288877" cy="3017818"/>
          </a:xfrm>
          <a:prstGeom prst="flowChartProcess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Immagine 10">
            <a:extLst>
              <a:ext uri="{FF2B5EF4-FFF2-40B4-BE49-F238E27FC236}">
                <a16:creationId xmlns:a16="http://schemas.microsoft.com/office/drawing/2014/main" id="{D2F25F69-DC90-4E85-88F7-CA6F8521DD8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73" b="36394"/>
          <a:stretch/>
        </p:blipFill>
        <p:spPr>
          <a:xfrm>
            <a:off x="4902793" y="5708892"/>
            <a:ext cx="3288878" cy="705067"/>
          </a:xfrm>
          <a:prstGeom prst="rect">
            <a:avLst/>
          </a:prstGeom>
          <a:effectLst/>
        </p:spPr>
      </p:pic>
      <p:sp>
        <p:nvSpPr>
          <p:cNvPr id="34" name="Flowchart: Process 33">
            <a:extLst>
              <a:ext uri="{FF2B5EF4-FFF2-40B4-BE49-F238E27FC236}">
                <a16:creationId xmlns:a16="http://schemas.microsoft.com/office/drawing/2014/main" id="{AF310B7D-8D00-4EA8-B670-085F7B7C7428}"/>
              </a:ext>
            </a:extLst>
          </p:cNvPr>
          <p:cNvSpPr/>
          <p:nvPr/>
        </p:nvSpPr>
        <p:spPr>
          <a:xfrm>
            <a:off x="8443747" y="4167607"/>
            <a:ext cx="216024" cy="288031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35" name="Flowchart: Process 34">
            <a:extLst>
              <a:ext uri="{FF2B5EF4-FFF2-40B4-BE49-F238E27FC236}">
                <a16:creationId xmlns:a16="http://schemas.microsoft.com/office/drawing/2014/main" id="{381A255C-2B50-491D-889E-A173AEE98C2D}"/>
              </a:ext>
            </a:extLst>
          </p:cNvPr>
          <p:cNvSpPr/>
          <p:nvPr/>
        </p:nvSpPr>
        <p:spPr>
          <a:xfrm>
            <a:off x="8659771" y="4167606"/>
            <a:ext cx="3101562" cy="28284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ess control</a:t>
            </a:r>
          </a:p>
        </p:txBody>
      </p:sp>
      <p:sp>
        <p:nvSpPr>
          <p:cNvPr id="36" name="Rettangolo 4">
            <a:extLst>
              <a:ext uri="{FF2B5EF4-FFF2-40B4-BE49-F238E27FC236}">
                <a16:creationId xmlns:a16="http://schemas.microsoft.com/office/drawing/2014/main" id="{6E8938B8-7208-415D-85CA-5A004C2F4C3D}"/>
              </a:ext>
            </a:extLst>
          </p:cNvPr>
          <p:cNvSpPr/>
          <p:nvPr/>
        </p:nvSpPr>
        <p:spPr>
          <a:xfrm>
            <a:off x="8443747" y="4467060"/>
            <a:ext cx="3288877" cy="1014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icazione Operatore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marR="0" lvl="0" indent="-176213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ensione del mezzo mediante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dge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sonale (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ess control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176213" marR="0" lvl="0" indent="-176213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iver Manager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enuto nel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ftware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lowchart: Process 36">
            <a:extLst>
              <a:ext uri="{FF2B5EF4-FFF2-40B4-BE49-F238E27FC236}">
                <a16:creationId xmlns:a16="http://schemas.microsoft.com/office/drawing/2014/main" id="{78BBCA04-5BBE-4EC7-B0F1-6A5C6146EBDE}"/>
              </a:ext>
            </a:extLst>
          </p:cNvPr>
          <p:cNvSpPr/>
          <p:nvPr/>
        </p:nvSpPr>
        <p:spPr>
          <a:xfrm>
            <a:off x="8443747" y="4158268"/>
            <a:ext cx="3288877" cy="2191554"/>
          </a:xfrm>
          <a:prstGeom prst="flowChartProcess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E229161-CF5A-4C97-AC20-ABDF40EE5050}"/>
              </a:ext>
            </a:extLst>
          </p:cNvPr>
          <p:cNvGrpSpPr/>
          <p:nvPr/>
        </p:nvGrpSpPr>
        <p:grpSpPr>
          <a:xfrm>
            <a:off x="5159896" y="3356992"/>
            <a:ext cx="2658782" cy="1875615"/>
            <a:chOff x="4928725" y="3440258"/>
            <a:chExt cx="2844890" cy="2292998"/>
          </a:xfrm>
        </p:grpSpPr>
        <p:pic>
          <p:nvPicPr>
            <p:cNvPr id="39" name="Picture 6" descr="A close up of a map&#10;&#10;Description generated with high confidence">
              <a:extLst>
                <a:ext uri="{FF2B5EF4-FFF2-40B4-BE49-F238E27FC236}">
                  <a16:creationId xmlns:a16="http://schemas.microsoft.com/office/drawing/2014/main" id="{31F56F6F-E1BB-46F5-83CE-D37AB703A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2728" y="3521960"/>
              <a:ext cx="2720887" cy="152863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0" name="Immagine 2">
              <a:extLst>
                <a:ext uri="{FF2B5EF4-FFF2-40B4-BE49-F238E27FC236}">
                  <a16:creationId xmlns:a16="http://schemas.microsoft.com/office/drawing/2014/main" id="{1732A9AE-4BBB-4EB7-AF70-DEFA332507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28725" y="3440258"/>
              <a:ext cx="2844890" cy="2292998"/>
            </a:xfrm>
            <a:prstGeom prst="rect">
              <a:avLst/>
            </a:prstGeom>
          </p:spPr>
        </p:pic>
      </p:grpSp>
      <p:pic>
        <p:nvPicPr>
          <p:cNvPr id="41" name="Immagine 2">
            <a:extLst>
              <a:ext uri="{FF2B5EF4-FFF2-40B4-BE49-F238E27FC236}">
                <a16:creationId xmlns:a16="http://schemas.microsoft.com/office/drawing/2014/main" id="{00FA85FF-33A4-4327-8A58-257AD9D0173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0999" y="5498050"/>
            <a:ext cx="1048447" cy="79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47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unzionalità della telematica per mezzi non motorizzat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773E1-9645-48F3-9513-6154753BDDA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Flowchart: Process 41">
            <a:extLst>
              <a:ext uri="{FF2B5EF4-FFF2-40B4-BE49-F238E27FC236}">
                <a16:creationId xmlns:a16="http://schemas.microsoft.com/office/drawing/2014/main" id="{72ED11C7-A28B-41CB-A787-5471F989A967}"/>
              </a:ext>
            </a:extLst>
          </p:cNvPr>
          <p:cNvSpPr/>
          <p:nvPr/>
        </p:nvSpPr>
        <p:spPr>
          <a:xfrm>
            <a:off x="1365614" y="1058978"/>
            <a:ext cx="216024" cy="288031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43" name="Flowchart: Process 42">
            <a:extLst>
              <a:ext uri="{FF2B5EF4-FFF2-40B4-BE49-F238E27FC236}">
                <a16:creationId xmlns:a16="http://schemas.microsoft.com/office/drawing/2014/main" id="{8C1BB731-0EA3-415E-A5B2-907F9866CDA7}"/>
              </a:ext>
            </a:extLst>
          </p:cNvPr>
          <p:cNvSpPr/>
          <p:nvPr/>
        </p:nvSpPr>
        <p:spPr>
          <a:xfrm>
            <a:off x="1581638" y="1058977"/>
            <a:ext cx="3101562" cy="28284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cerca Assets</a:t>
            </a:r>
          </a:p>
        </p:txBody>
      </p:sp>
      <p:sp>
        <p:nvSpPr>
          <p:cNvPr id="44" name="Rettangolo 4">
            <a:extLst>
              <a:ext uri="{FF2B5EF4-FFF2-40B4-BE49-F238E27FC236}">
                <a16:creationId xmlns:a16="http://schemas.microsoft.com/office/drawing/2014/main" id="{29EBC588-38A4-4252-9E93-7447C41965C4}"/>
              </a:ext>
            </a:extLst>
          </p:cNvPr>
          <p:cNvSpPr/>
          <p:nvPr/>
        </p:nvSpPr>
        <p:spPr>
          <a:xfrm>
            <a:off x="1365614" y="1411798"/>
            <a:ext cx="3288877" cy="1660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ppe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176213" marR="0" lvl="0" indent="-17621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sualizzazione dell’ultima posizione</a:t>
            </a:r>
          </a:p>
          <a:p>
            <a:pPr marL="176213" marR="0" lvl="0" indent="-17621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o per raggruppamento a video </a:t>
            </a:r>
          </a:p>
          <a:p>
            <a:pPr marL="176213" marR="0" lvl="0" indent="-176213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sibilità per tracciamento in aree chiuse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cone diversificate per asset fermi o in movimento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39A6D006-2007-4EE5-97DB-187B91B68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208" y="3444285"/>
            <a:ext cx="1982488" cy="84252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D66C7E61-F428-41DD-AE4E-5BC2D2674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6551" y="4908495"/>
            <a:ext cx="1871544" cy="94918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7" name="Immagine 2">
            <a:extLst>
              <a:ext uri="{FF2B5EF4-FFF2-40B4-BE49-F238E27FC236}">
                <a16:creationId xmlns:a16="http://schemas.microsoft.com/office/drawing/2014/main" id="{7DCD7B66-DBCA-4AC9-862E-02FF07AE91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114" y="3323120"/>
            <a:ext cx="2064675" cy="1405573"/>
          </a:xfrm>
          <a:prstGeom prst="rect">
            <a:avLst/>
          </a:prstGeom>
        </p:spPr>
      </p:pic>
      <p:pic>
        <p:nvPicPr>
          <p:cNvPr id="48" name="Immagine 2">
            <a:extLst>
              <a:ext uri="{FF2B5EF4-FFF2-40B4-BE49-F238E27FC236}">
                <a16:creationId xmlns:a16="http://schemas.microsoft.com/office/drawing/2014/main" id="{1DCB1C36-F27E-44D0-B5C3-4D7C0B86CAB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243" y="4837980"/>
            <a:ext cx="2064675" cy="1405573"/>
          </a:xfrm>
          <a:prstGeom prst="rect">
            <a:avLst/>
          </a:prstGeom>
        </p:spPr>
      </p:pic>
      <p:sp>
        <p:nvSpPr>
          <p:cNvPr id="49" name="Flowchart: Process 48">
            <a:extLst>
              <a:ext uri="{FF2B5EF4-FFF2-40B4-BE49-F238E27FC236}">
                <a16:creationId xmlns:a16="http://schemas.microsoft.com/office/drawing/2014/main" id="{86CB8ADA-AED4-4808-84DD-D5133C8983D5}"/>
              </a:ext>
            </a:extLst>
          </p:cNvPr>
          <p:cNvSpPr/>
          <p:nvPr/>
        </p:nvSpPr>
        <p:spPr>
          <a:xfrm>
            <a:off x="1365614" y="1058977"/>
            <a:ext cx="3288877" cy="5256583"/>
          </a:xfrm>
          <a:prstGeom prst="flowChartProcess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Flowchart: Process 49">
            <a:extLst>
              <a:ext uri="{FF2B5EF4-FFF2-40B4-BE49-F238E27FC236}">
                <a16:creationId xmlns:a16="http://schemas.microsoft.com/office/drawing/2014/main" id="{FF8314BA-5DE9-40AC-983B-4157E564E7FF}"/>
              </a:ext>
            </a:extLst>
          </p:cNvPr>
          <p:cNvSpPr/>
          <p:nvPr/>
        </p:nvSpPr>
        <p:spPr>
          <a:xfrm>
            <a:off x="4938700" y="1058978"/>
            <a:ext cx="216024" cy="288031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51" name="Flowchart: Process 50">
            <a:extLst>
              <a:ext uri="{FF2B5EF4-FFF2-40B4-BE49-F238E27FC236}">
                <a16:creationId xmlns:a16="http://schemas.microsoft.com/office/drawing/2014/main" id="{C86EB360-E0D7-4414-8AB3-F6565F8126F6}"/>
              </a:ext>
            </a:extLst>
          </p:cNvPr>
          <p:cNvSpPr/>
          <p:nvPr/>
        </p:nvSpPr>
        <p:spPr>
          <a:xfrm>
            <a:off x="5154724" y="1058977"/>
            <a:ext cx="3101562" cy="28284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aggio della flotta</a:t>
            </a:r>
          </a:p>
        </p:txBody>
      </p:sp>
      <p:sp>
        <p:nvSpPr>
          <p:cNvPr id="52" name="Rettangolo 4">
            <a:extLst>
              <a:ext uri="{FF2B5EF4-FFF2-40B4-BE49-F238E27FC236}">
                <a16:creationId xmlns:a16="http://schemas.microsoft.com/office/drawing/2014/main" id="{EFC8A201-3603-4990-9A9A-7E050240FA9D}"/>
              </a:ext>
            </a:extLst>
          </p:cNvPr>
          <p:cNvSpPr/>
          <p:nvPr/>
        </p:nvSpPr>
        <p:spPr>
          <a:xfrm>
            <a:off x="4938700" y="1411798"/>
            <a:ext cx="3288877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orting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ra rapporti con ultima posizione, attività ed altre informazioni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ntario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stra l’inventario in forma di elenco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ltri rapidi per trovare gli asset</a:t>
            </a:r>
          </a:p>
        </p:txBody>
      </p:sp>
      <p:sp>
        <p:nvSpPr>
          <p:cNvPr id="53" name="Flowchart: Process 52">
            <a:extLst>
              <a:ext uri="{FF2B5EF4-FFF2-40B4-BE49-F238E27FC236}">
                <a16:creationId xmlns:a16="http://schemas.microsoft.com/office/drawing/2014/main" id="{737D4CF6-280B-4082-902A-96DD8C48DFDB}"/>
              </a:ext>
            </a:extLst>
          </p:cNvPr>
          <p:cNvSpPr/>
          <p:nvPr/>
        </p:nvSpPr>
        <p:spPr>
          <a:xfrm>
            <a:off x="4938700" y="1058978"/>
            <a:ext cx="3288877" cy="3849518"/>
          </a:xfrm>
          <a:prstGeom prst="flowChartProcess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Flowchart: Process 53">
            <a:extLst>
              <a:ext uri="{FF2B5EF4-FFF2-40B4-BE49-F238E27FC236}">
                <a16:creationId xmlns:a16="http://schemas.microsoft.com/office/drawing/2014/main" id="{DB9DDC54-9FE3-4303-96F2-F5AE28BCD34E}"/>
              </a:ext>
            </a:extLst>
          </p:cNvPr>
          <p:cNvSpPr/>
          <p:nvPr/>
        </p:nvSpPr>
        <p:spPr>
          <a:xfrm>
            <a:off x="8511786" y="1058978"/>
            <a:ext cx="216024" cy="288031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55" name="Flowchart: Process 54">
            <a:extLst>
              <a:ext uri="{FF2B5EF4-FFF2-40B4-BE49-F238E27FC236}">
                <a16:creationId xmlns:a16="http://schemas.microsoft.com/office/drawing/2014/main" id="{8C2FB2F7-0555-4646-9B0F-9C0F8E89A191}"/>
              </a:ext>
            </a:extLst>
          </p:cNvPr>
          <p:cNvSpPr/>
          <p:nvPr/>
        </p:nvSpPr>
        <p:spPr>
          <a:xfrm>
            <a:off x="8727810" y="1058977"/>
            <a:ext cx="3101562" cy="28284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rollo dell’utilizzo</a:t>
            </a:r>
          </a:p>
        </p:txBody>
      </p:sp>
      <p:sp>
        <p:nvSpPr>
          <p:cNvPr id="56" name="Rettangolo 4">
            <a:extLst>
              <a:ext uri="{FF2B5EF4-FFF2-40B4-BE49-F238E27FC236}">
                <a16:creationId xmlns:a16="http://schemas.microsoft.com/office/drawing/2014/main" id="{307E54A3-BBB4-4376-BCE7-C10AEDDC7647}"/>
              </a:ext>
            </a:extLst>
          </p:cNvPr>
          <p:cNvSpPr/>
          <p:nvPr/>
        </p:nvSpPr>
        <p:spPr>
          <a:xfrm>
            <a:off x="8511786" y="1411798"/>
            <a:ext cx="3288877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sng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ozone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egna aree di interesse sulla mappa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ova rapidamente gli asset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ifiche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176213" marR="0" lvl="0" indent="-176213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ra notifiche quando gli asset entrano o escono da determinate zone</a:t>
            </a:r>
          </a:p>
        </p:txBody>
      </p:sp>
      <p:sp>
        <p:nvSpPr>
          <p:cNvPr id="57" name="Flowchart: Process 56">
            <a:extLst>
              <a:ext uri="{FF2B5EF4-FFF2-40B4-BE49-F238E27FC236}">
                <a16:creationId xmlns:a16="http://schemas.microsoft.com/office/drawing/2014/main" id="{7FF6B1DF-C470-4FD0-AB56-320C0916D76C}"/>
              </a:ext>
            </a:extLst>
          </p:cNvPr>
          <p:cNvSpPr/>
          <p:nvPr/>
        </p:nvSpPr>
        <p:spPr>
          <a:xfrm>
            <a:off x="8511786" y="1058977"/>
            <a:ext cx="3288877" cy="5256583"/>
          </a:xfrm>
          <a:prstGeom prst="flowChartProcess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8" name="Immagine 2">
            <a:extLst>
              <a:ext uri="{FF2B5EF4-FFF2-40B4-BE49-F238E27FC236}">
                <a16:creationId xmlns:a16="http://schemas.microsoft.com/office/drawing/2014/main" id="{E55535C2-7400-4E86-9C68-127661EF5B9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984" y="3167967"/>
            <a:ext cx="1298778" cy="884172"/>
          </a:xfrm>
          <a:prstGeom prst="rect">
            <a:avLst/>
          </a:prstGeom>
        </p:spPr>
      </p:pic>
      <p:pic>
        <p:nvPicPr>
          <p:cNvPr id="59" name="Immagine 2">
            <a:extLst>
              <a:ext uri="{FF2B5EF4-FFF2-40B4-BE49-F238E27FC236}">
                <a16:creationId xmlns:a16="http://schemas.microsoft.com/office/drawing/2014/main" id="{9A9ED8E0-7D67-4420-93CF-57E4A6B83EF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201" y="3147210"/>
            <a:ext cx="1298778" cy="884172"/>
          </a:xfrm>
          <a:prstGeom prst="rect">
            <a:avLst/>
          </a:prstGeom>
        </p:spPr>
      </p:pic>
      <p:pic>
        <p:nvPicPr>
          <p:cNvPr id="60" name="Immagine 2">
            <a:extLst>
              <a:ext uri="{FF2B5EF4-FFF2-40B4-BE49-F238E27FC236}">
                <a16:creationId xmlns:a16="http://schemas.microsoft.com/office/drawing/2014/main" id="{5F06DA27-69BD-4B9B-A77E-0E154F2E12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7286" y="3147209"/>
            <a:ext cx="2064675" cy="1405573"/>
          </a:xfrm>
          <a:prstGeom prst="rect">
            <a:avLst/>
          </a:prstGeom>
        </p:spPr>
      </p:pic>
      <p:pic>
        <p:nvPicPr>
          <p:cNvPr id="61" name="Immagine 2">
            <a:extLst>
              <a:ext uri="{FF2B5EF4-FFF2-40B4-BE49-F238E27FC236}">
                <a16:creationId xmlns:a16="http://schemas.microsoft.com/office/drawing/2014/main" id="{4D515500-AAB5-48E8-8D29-1C30D24799A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8415" y="4837980"/>
            <a:ext cx="2064675" cy="1405573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01A3FE79-56B4-4E97-88CC-7A0954D5B5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9434" y="3200510"/>
            <a:ext cx="1198547" cy="57349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6D36EBD6-342A-48EB-B0DB-B8054ECC78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8427" y="3238482"/>
            <a:ext cx="1184549" cy="56803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C8CD3623-C0B0-4B5A-A88F-C30F2C5171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72830" y="3205317"/>
            <a:ext cx="1880509" cy="94726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C084F08A-C4F1-4CAA-B234-12E02E533F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76579" y="4901099"/>
            <a:ext cx="1688344" cy="91309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AE743ABB-462F-4587-8343-9E8EF4DAC8E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9811" y="5320056"/>
            <a:ext cx="3290400" cy="8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99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/>
              <a:t>La telematica è un elemento chiave che stabilisce la base per il pooling e l'uso in comune di G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773E1-9645-48F3-9513-6154753BDDA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FD8AAD2C-93CA-4CAA-96D9-B4AB8CB1A83C}"/>
              </a:ext>
            </a:extLst>
          </p:cNvPr>
          <p:cNvSpPr txBox="1">
            <a:spLocks/>
          </p:cNvSpPr>
          <p:nvPr/>
        </p:nvSpPr>
        <p:spPr>
          <a:xfrm>
            <a:off x="1234335" y="997080"/>
            <a:ext cx="10754485" cy="41046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  <a:prstDash val="lgDash"/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just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just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just" defTabSz="914400" rtl="0" eaLnBrk="1" latinLnBrk="0" hangingPunct="1">
              <a:spcBef>
                <a:spcPct val="20000"/>
              </a:spcBef>
              <a:buFont typeface="Wingdings" pitchFamily="2" charset="2"/>
              <a:buChar char="w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just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just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5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TCR è l’operatore principale nel settore dell’handling con esperienza </a:t>
            </a:r>
            <a:r>
              <a:rPr lang="it-IT" sz="1800">
                <a:solidFill>
                  <a:srgbClr val="002060"/>
                </a:solidFill>
                <a:latin typeface="Calibri"/>
                <a:sym typeface="Wingdings" panose="05000000000000000000" pitchFamily="2" charset="2"/>
              </a:rPr>
              <a:t>provata </a:t>
            </a: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in progetti di larga taglia di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pooling aeroportuale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6AD6C8-E613-4EFA-A3AE-06B7C7BDC2FB}"/>
              </a:ext>
            </a:extLst>
          </p:cNvPr>
          <p:cNvSpPr/>
          <p:nvPr/>
        </p:nvSpPr>
        <p:spPr bwMode="auto">
          <a:xfrm>
            <a:off x="1236251" y="3127802"/>
            <a:ext cx="1465346" cy="1014761"/>
          </a:xfrm>
          <a:prstGeom prst="rect">
            <a:avLst/>
          </a:prstGeom>
          <a:noFill/>
          <a:ln w="12700" cap="flat" cmpd="sng" algn="ctr">
            <a:solidFill>
              <a:srgbClr val="002C7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CE927F59-E90B-4DCF-8EC2-62F82E7ABA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2108" y="2199563"/>
            <a:ext cx="1304768" cy="375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434ADF4-043A-4250-B42A-D93094BF6490}"/>
              </a:ext>
            </a:extLst>
          </p:cNvPr>
          <p:cNvSpPr/>
          <p:nvPr/>
        </p:nvSpPr>
        <p:spPr bwMode="auto">
          <a:xfrm>
            <a:off x="1222858" y="4312539"/>
            <a:ext cx="1471862" cy="1014762"/>
          </a:xfrm>
          <a:prstGeom prst="rect">
            <a:avLst/>
          </a:prstGeom>
          <a:noFill/>
          <a:ln w="12700" cap="flat" cmpd="sng" algn="ctr">
            <a:solidFill>
              <a:srgbClr val="002C7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52CBA86-78FC-4143-A825-55E7D1742CBF}"/>
              </a:ext>
            </a:extLst>
          </p:cNvPr>
          <p:cNvSpPr/>
          <p:nvPr/>
        </p:nvSpPr>
        <p:spPr bwMode="auto">
          <a:xfrm>
            <a:off x="1224947" y="5509377"/>
            <a:ext cx="1467263" cy="1048396"/>
          </a:xfrm>
          <a:prstGeom prst="rect">
            <a:avLst/>
          </a:prstGeom>
          <a:noFill/>
          <a:ln w="12700" cap="flat" cmpd="sng" algn="ctr">
            <a:solidFill>
              <a:srgbClr val="002C7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105F2DE-2929-4AF5-B860-5C497AD23E97}"/>
              </a:ext>
            </a:extLst>
          </p:cNvPr>
          <p:cNvSpPr/>
          <p:nvPr/>
        </p:nvSpPr>
        <p:spPr bwMode="auto">
          <a:xfrm>
            <a:off x="1243423" y="1916833"/>
            <a:ext cx="1458174" cy="1057137"/>
          </a:xfrm>
          <a:prstGeom prst="rect">
            <a:avLst/>
          </a:prstGeom>
          <a:noFill/>
          <a:ln w="12700" cap="flat" cmpd="sng" algn="ctr">
            <a:solidFill>
              <a:srgbClr val="002C7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1CF105C-1418-4D88-8805-D262934DBB60}"/>
              </a:ext>
            </a:extLst>
          </p:cNvPr>
          <p:cNvCxnSpPr>
            <a:cxnSpLocks/>
          </p:cNvCxnSpPr>
          <p:nvPr/>
        </p:nvCxnSpPr>
        <p:spPr bwMode="auto">
          <a:xfrm>
            <a:off x="2674751" y="6557773"/>
            <a:ext cx="884865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2C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5D40C66C-1EBD-4C9A-9318-BD2494C03C8C}"/>
              </a:ext>
            </a:extLst>
          </p:cNvPr>
          <p:cNvSpPr/>
          <p:nvPr/>
        </p:nvSpPr>
        <p:spPr>
          <a:xfrm>
            <a:off x="9114601" y="1840314"/>
            <a:ext cx="2857430" cy="4717459"/>
          </a:xfrm>
          <a:prstGeom prst="rect">
            <a:avLst/>
          </a:prstGeom>
          <a:solidFill>
            <a:srgbClr val="A0CFEB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10E0A28-6E72-4F73-8B6A-AAC71BB166FE}"/>
              </a:ext>
            </a:extLst>
          </p:cNvPr>
          <p:cNvCxnSpPr>
            <a:cxnSpLocks/>
          </p:cNvCxnSpPr>
          <p:nvPr/>
        </p:nvCxnSpPr>
        <p:spPr bwMode="auto">
          <a:xfrm>
            <a:off x="2674751" y="2973970"/>
            <a:ext cx="927043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2C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68462CA-7A9F-44E1-A23A-72B41E363931}"/>
              </a:ext>
            </a:extLst>
          </p:cNvPr>
          <p:cNvCxnSpPr>
            <a:cxnSpLocks/>
          </p:cNvCxnSpPr>
          <p:nvPr/>
        </p:nvCxnSpPr>
        <p:spPr bwMode="auto">
          <a:xfrm>
            <a:off x="2675162" y="4142563"/>
            <a:ext cx="927043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2C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4FFC20A-F507-4BCB-86A5-387E5AF6E5C2}"/>
              </a:ext>
            </a:extLst>
          </p:cNvPr>
          <p:cNvCxnSpPr>
            <a:cxnSpLocks/>
          </p:cNvCxnSpPr>
          <p:nvPr/>
        </p:nvCxnSpPr>
        <p:spPr bwMode="auto">
          <a:xfrm>
            <a:off x="2681649" y="5327301"/>
            <a:ext cx="927043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2C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5" name="Picture 44">
            <a:extLst>
              <a:ext uri="{FF2B5EF4-FFF2-40B4-BE49-F238E27FC236}">
                <a16:creationId xmlns:a16="http://schemas.microsoft.com/office/drawing/2014/main" id="{BAB39521-6AAB-4172-A1AF-605302344F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0868" y="3401766"/>
            <a:ext cx="1331913" cy="466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TextBox 21">
            <a:extLst>
              <a:ext uri="{FF2B5EF4-FFF2-40B4-BE49-F238E27FC236}">
                <a16:creationId xmlns:a16="http://schemas.microsoft.com/office/drawing/2014/main" id="{3F94A22F-CF52-4F45-A14C-ABFAA1D8D2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5570" y="1946696"/>
            <a:ext cx="2707679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100000"/>
              </a:spcBef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50000"/>
              </a:spcBef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w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it-IT" altLang="en-US" sz="1400" kern="0" dirty="0">
                <a:solidFill>
                  <a:prstClr val="black"/>
                </a:solidFill>
                <a:latin typeface="Calibri"/>
              </a:rPr>
              <a:t>Telematica </a:t>
            </a:r>
            <a:endParaRPr kumimoji="0" lang="it-IT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it-IT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stema di fatturazione calcolando il costo a volo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E3F0E6A-37C0-40C6-87C0-BCE38DD8696A}"/>
              </a:ext>
            </a:extLst>
          </p:cNvPr>
          <p:cNvSpPr txBox="1"/>
          <p:nvPr/>
        </p:nvSpPr>
        <p:spPr>
          <a:xfrm>
            <a:off x="2828615" y="1882506"/>
            <a:ext cx="413396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it-IT" altLang="en-US" sz="1400" kern="0">
                <a:solidFill>
                  <a:prstClr val="black"/>
                </a:solidFill>
              </a:rPr>
              <a:t>Contratto di Pooling dal 2004 </a:t>
            </a:r>
          </a:p>
          <a:p>
            <a:pPr algn="just"/>
            <a:endParaRPr lang="it-IT" altLang="en-US" sz="400" kern="0">
              <a:solidFill>
                <a:prstClr val="black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it-IT" altLang="en-US" sz="1400" kern="0">
                <a:solidFill>
                  <a:prstClr val="black"/>
                </a:solidFill>
              </a:rPr>
              <a:t>24 GSE motorizzati e 75 non-motorizzati. 3  handler diversi.</a:t>
            </a:r>
          </a:p>
          <a:p>
            <a:pPr algn="just"/>
            <a:endParaRPr lang="it-IT" altLang="en-US" sz="400" kern="0">
              <a:solidFill>
                <a:prstClr val="black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BA3DB09-5CF1-4D3E-9575-AB1ED4179E2D}"/>
              </a:ext>
            </a:extLst>
          </p:cNvPr>
          <p:cNvSpPr txBox="1"/>
          <p:nvPr/>
        </p:nvSpPr>
        <p:spPr>
          <a:xfrm>
            <a:off x="2778953" y="3293160"/>
            <a:ext cx="41836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>
              <a:spcBef>
                <a:spcPts val="1200"/>
              </a:spcBef>
              <a:buFont typeface="Wingdings" panose="05000000000000000000" pitchFamily="2" charset="2"/>
              <a:buChar char="§"/>
              <a:defRPr/>
            </a:pPr>
            <a:r>
              <a:rPr lang="it-IT" altLang="en-US" sz="1400" kern="0">
                <a:solidFill>
                  <a:prstClr val="black"/>
                </a:solidFill>
              </a:rPr>
              <a:t>Contratto di pooling dal 2016 per Nastri, Scale, GPU, Trattorini e Carelli per 3 handler diversi</a:t>
            </a:r>
          </a:p>
          <a:p>
            <a:pPr algn="just"/>
            <a:endParaRPr lang="it-IT" altLang="en-US" sz="400" kern="0">
              <a:solidFill>
                <a:prstClr val="black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5DF6D48-D5E2-4D2C-A0DA-4A2346B3A830}"/>
              </a:ext>
            </a:extLst>
          </p:cNvPr>
          <p:cNvSpPr/>
          <p:nvPr/>
        </p:nvSpPr>
        <p:spPr>
          <a:xfrm>
            <a:off x="1246727" y="1495752"/>
            <a:ext cx="1467262" cy="301705"/>
          </a:xfrm>
          <a:prstGeom prst="rect">
            <a:avLst/>
          </a:prstGeom>
          <a:solidFill>
            <a:srgbClr val="002C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>
                <a:solidFill>
                  <a:schemeClr val="bg1"/>
                </a:solidFill>
              </a:rPr>
              <a:t>Aeroporti</a:t>
            </a:r>
            <a:endParaRPr lang="it-IT" sz="1600" dirty="0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721406E-A919-419A-8197-AD0BE5F58195}"/>
              </a:ext>
            </a:extLst>
          </p:cNvPr>
          <p:cNvSpPr/>
          <p:nvPr/>
        </p:nvSpPr>
        <p:spPr>
          <a:xfrm>
            <a:off x="2802075" y="1495751"/>
            <a:ext cx="6221611" cy="308306"/>
          </a:xfrm>
          <a:prstGeom prst="rect">
            <a:avLst/>
          </a:prstGeom>
          <a:solidFill>
            <a:srgbClr val="002C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>
                <a:solidFill>
                  <a:schemeClr val="bg1"/>
                </a:solidFill>
              </a:rPr>
              <a:t>Sintesi di Progetto e Risultati</a:t>
            </a:r>
            <a:endParaRPr lang="it-IT" sz="1600" dirty="0">
              <a:solidFill>
                <a:schemeClr val="bg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33CF6FA-E112-4FF4-A015-97B98A94D433}"/>
              </a:ext>
            </a:extLst>
          </p:cNvPr>
          <p:cNvSpPr/>
          <p:nvPr/>
        </p:nvSpPr>
        <p:spPr>
          <a:xfrm>
            <a:off x="9114601" y="1491230"/>
            <a:ext cx="2857430" cy="314147"/>
          </a:xfrm>
          <a:prstGeom prst="rect">
            <a:avLst/>
          </a:prstGeom>
          <a:solidFill>
            <a:srgbClr val="002C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it-IT" sz="1600" b="1">
                <a:solidFill>
                  <a:schemeClr val="bg1"/>
                </a:solidFill>
              </a:rPr>
              <a:t>Sfide particolari</a:t>
            </a:r>
            <a:endParaRPr lang="it-IT" sz="1600" dirty="0">
              <a:solidFill>
                <a:schemeClr val="bg1"/>
              </a:solidFill>
            </a:endParaRPr>
          </a:p>
        </p:txBody>
      </p:sp>
      <p:sp>
        <p:nvSpPr>
          <p:cNvPr id="52" name="TextBox 21">
            <a:extLst>
              <a:ext uri="{FF2B5EF4-FFF2-40B4-BE49-F238E27FC236}">
                <a16:creationId xmlns:a16="http://schemas.microsoft.com/office/drawing/2014/main" id="{EC4A23FB-2C35-4B63-ADBA-73B5245595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794" y="3026975"/>
            <a:ext cx="2751044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100000"/>
              </a:spcBef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50000"/>
              </a:spcBef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w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it-IT" alt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lemati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it-IT" alt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izione del tipo di G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it-IT" altLang="en-US" sz="1400" kern="0">
                <a:solidFill>
                  <a:prstClr val="black"/>
                </a:solidFill>
                <a:latin typeface="Calibri"/>
              </a:rPr>
              <a:t>Addestramento degli operatori</a:t>
            </a:r>
            <a:endParaRPr kumimoji="0" lang="it-IT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TextBox 21">
            <a:extLst>
              <a:ext uri="{FF2B5EF4-FFF2-40B4-BE49-F238E27FC236}">
                <a16:creationId xmlns:a16="http://schemas.microsoft.com/office/drawing/2014/main" id="{5B1CCDA6-3D6F-4DC8-AA1E-74B4BCDB59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794" y="4473322"/>
            <a:ext cx="275104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100000"/>
              </a:spcBef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50000"/>
              </a:spcBef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w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0" indent="0" algn="ctr">
              <a:spcBef>
                <a:spcPts val="1200"/>
              </a:spcBef>
              <a:buNone/>
              <a:defRPr/>
            </a:pPr>
            <a:r>
              <a:rPr kumimoji="0" lang="it-IT" alt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isi delle risorse per il pool e </a:t>
            </a:r>
            <a:r>
              <a:rPr lang="it-IT" altLang="en-US" sz="1400" kern="0">
                <a:solidFill>
                  <a:prstClr val="black"/>
                </a:solidFill>
                <a:latin typeface="Calibri"/>
              </a:rPr>
              <a:t>distribuzione dei costi su base trimestrale</a:t>
            </a:r>
            <a:endParaRPr kumimoji="0" lang="it-IT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21">
            <a:extLst>
              <a:ext uri="{FF2B5EF4-FFF2-40B4-BE49-F238E27FC236}">
                <a16:creationId xmlns:a16="http://schemas.microsoft.com/office/drawing/2014/main" id="{77C93813-0FC0-46C4-8D53-3D4273F6E7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0236" y="5562084"/>
            <a:ext cx="275104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100000"/>
              </a:spcBef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50000"/>
              </a:spcBef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w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0" indent="0" algn="ctr">
              <a:spcBef>
                <a:spcPts val="1200"/>
              </a:spcBef>
              <a:buNone/>
              <a:defRPr/>
            </a:pPr>
            <a:r>
              <a:rPr lang="it-IT" altLang="en-US" sz="1400" kern="0">
                <a:solidFill>
                  <a:prstClr val="black"/>
                </a:solidFill>
                <a:latin typeface="Calibri"/>
              </a:rPr>
              <a:t>Analisi delle risorse per il pool e distribuzione dei costi su base trimestrale</a:t>
            </a:r>
            <a:endParaRPr lang="it-IT" altLang="en-US" sz="1400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Rectangle: Diagonal Corners Rounded 54">
            <a:extLst>
              <a:ext uri="{FF2B5EF4-FFF2-40B4-BE49-F238E27FC236}">
                <a16:creationId xmlns:a16="http://schemas.microsoft.com/office/drawing/2014/main" id="{E05854DB-8C24-4EFC-BB04-98F49BAF15D6}"/>
              </a:ext>
            </a:extLst>
          </p:cNvPr>
          <p:cNvSpPr/>
          <p:nvPr/>
        </p:nvSpPr>
        <p:spPr>
          <a:xfrm>
            <a:off x="6963329" y="1840314"/>
            <a:ext cx="2060358" cy="439798"/>
          </a:xfrm>
          <a:prstGeom prst="round2Diag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accent3">
                    <a:lumMod val="50000"/>
                  </a:schemeClr>
                </a:solidFill>
              </a:rPr>
              <a:t>Costo operativo</a:t>
            </a:r>
          </a:p>
          <a:p>
            <a:pPr algn="ctr"/>
            <a:r>
              <a:rPr lang="it-IT" sz="1400" b="1" dirty="0">
                <a:solidFill>
                  <a:srgbClr val="00B050"/>
                </a:solidFill>
              </a:rPr>
              <a:t>73%</a:t>
            </a:r>
          </a:p>
        </p:txBody>
      </p:sp>
      <p:sp>
        <p:nvSpPr>
          <p:cNvPr id="56" name="Rectangle: Diagonal Corners Rounded 55">
            <a:extLst>
              <a:ext uri="{FF2B5EF4-FFF2-40B4-BE49-F238E27FC236}">
                <a16:creationId xmlns:a16="http://schemas.microsoft.com/office/drawing/2014/main" id="{B9E0D332-C984-4E02-9084-5EBA380153FF}"/>
              </a:ext>
            </a:extLst>
          </p:cNvPr>
          <p:cNvSpPr/>
          <p:nvPr/>
        </p:nvSpPr>
        <p:spPr>
          <a:xfrm>
            <a:off x="6953891" y="2322713"/>
            <a:ext cx="2071079" cy="610623"/>
          </a:xfrm>
          <a:prstGeom prst="round2Diag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accent3">
                    <a:lumMod val="50000"/>
                  </a:schemeClr>
                </a:solidFill>
              </a:rPr>
              <a:t>Dimensionamento mezzi in piazzale</a:t>
            </a:r>
          </a:p>
          <a:p>
            <a:pPr algn="ctr"/>
            <a:r>
              <a:rPr lang="it-IT" sz="1400" b="1" dirty="0">
                <a:solidFill>
                  <a:srgbClr val="00B050"/>
                </a:solidFill>
              </a:rPr>
              <a:t>42%</a:t>
            </a:r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D185EEFF-F205-4CDC-90D9-C9EEBA4A5BDD}"/>
              </a:ext>
            </a:extLst>
          </p:cNvPr>
          <p:cNvSpPr/>
          <p:nvPr/>
        </p:nvSpPr>
        <p:spPr>
          <a:xfrm rot="5400000">
            <a:off x="6909475" y="1960984"/>
            <a:ext cx="288032" cy="216024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E84E73FC-316F-4B4C-B4B0-9F5F6B651A8E}"/>
              </a:ext>
            </a:extLst>
          </p:cNvPr>
          <p:cNvSpPr/>
          <p:nvPr/>
        </p:nvSpPr>
        <p:spPr>
          <a:xfrm rot="5400000">
            <a:off x="6899506" y="2530791"/>
            <a:ext cx="288032" cy="216024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: Diagonal Corners Rounded 58">
            <a:extLst>
              <a:ext uri="{FF2B5EF4-FFF2-40B4-BE49-F238E27FC236}">
                <a16:creationId xmlns:a16="http://schemas.microsoft.com/office/drawing/2014/main" id="{696C6BE6-BDDC-4591-BF8C-9B158531A283}"/>
              </a:ext>
            </a:extLst>
          </p:cNvPr>
          <p:cNvSpPr/>
          <p:nvPr/>
        </p:nvSpPr>
        <p:spPr>
          <a:xfrm>
            <a:off x="6962576" y="3014314"/>
            <a:ext cx="2071079" cy="579705"/>
          </a:xfrm>
          <a:prstGeom prst="round2Diag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accent3">
                    <a:lumMod val="50000"/>
                  </a:schemeClr>
                </a:solidFill>
              </a:rPr>
              <a:t>Costo parco mezzi e danneggiamento</a:t>
            </a:r>
          </a:p>
          <a:p>
            <a:pPr algn="ctr"/>
            <a:r>
              <a:rPr lang="it-IT" sz="1400" b="1" dirty="0">
                <a:solidFill>
                  <a:srgbClr val="00B050"/>
                </a:solidFill>
              </a:rPr>
              <a:t>70%</a:t>
            </a:r>
          </a:p>
        </p:txBody>
      </p:sp>
      <p:sp>
        <p:nvSpPr>
          <p:cNvPr id="60" name="Rectangle: Diagonal Corners Rounded 59">
            <a:extLst>
              <a:ext uri="{FF2B5EF4-FFF2-40B4-BE49-F238E27FC236}">
                <a16:creationId xmlns:a16="http://schemas.microsoft.com/office/drawing/2014/main" id="{F5D84F77-DFCA-4FCE-A1E0-D6A265800A40}"/>
              </a:ext>
            </a:extLst>
          </p:cNvPr>
          <p:cNvSpPr/>
          <p:nvPr/>
        </p:nvSpPr>
        <p:spPr>
          <a:xfrm>
            <a:off x="6942937" y="3642691"/>
            <a:ext cx="2088855" cy="428612"/>
          </a:xfrm>
          <a:prstGeom prst="round2Diag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accent3">
                    <a:lumMod val="50000"/>
                  </a:schemeClr>
                </a:solidFill>
              </a:rPr>
              <a:t>Puntualità aeroportuale</a:t>
            </a:r>
          </a:p>
          <a:p>
            <a:pPr algn="ctr"/>
            <a:r>
              <a:rPr lang="it-IT" sz="1400" b="1" dirty="0">
                <a:solidFill>
                  <a:srgbClr val="00B050"/>
                </a:solidFill>
              </a:rPr>
              <a:t>12%</a:t>
            </a:r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60CDC170-1826-4FC1-A6AA-6B9D43FFF886}"/>
              </a:ext>
            </a:extLst>
          </p:cNvPr>
          <p:cNvSpPr/>
          <p:nvPr/>
        </p:nvSpPr>
        <p:spPr>
          <a:xfrm rot="5400000">
            <a:off x="6879019" y="3208588"/>
            <a:ext cx="288032" cy="216024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Arrow: Right 61">
            <a:extLst>
              <a:ext uri="{FF2B5EF4-FFF2-40B4-BE49-F238E27FC236}">
                <a16:creationId xmlns:a16="http://schemas.microsoft.com/office/drawing/2014/main" id="{42EAE30C-0AA0-4EF1-A1AA-1A3AE8C50DC9}"/>
              </a:ext>
            </a:extLst>
          </p:cNvPr>
          <p:cNvSpPr/>
          <p:nvPr/>
        </p:nvSpPr>
        <p:spPr>
          <a:xfrm rot="16200000">
            <a:off x="6879019" y="3750215"/>
            <a:ext cx="288032" cy="216024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: Diagonal Corners Rounded 62">
            <a:extLst>
              <a:ext uri="{FF2B5EF4-FFF2-40B4-BE49-F238E27FC236}">
                <a16:creationId xmlns:a16="http://schemas.microsoft.com/office/drawing/2014/main" id="{2226FD8F-7452-4F1B-8081-C7723A8A90CD}"/>
              </a:ext>
            </a:extLst>
          </p:cNvPr>
          <p:cNvSpPr/>
          <p:nvPr/>
        </p:nvSpPr>
        <p:spPr>
          <a:xfrm>
            <a:off x="6942937" y="4540897"/>
            <a:ext cx="2090718" cy="593036"/>
          </a:xfrm>
          <a:prstGeom prst="round2Diag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accent3">
                    <a:lumMod val="50000"/>
                  </a:schemeClr>
                </a:solidFill>
              </a:rPr>
              <a:t>Costo parco mezzi e danneggiamento</a:t>
            </a:r>
          </a:p>
          <a:p>
            <a:pPr algn="ctr"/>
            <a:r>
              <a:rPr lang="it-IT" sz="1400" b="1" dirty="0">
                <a:solidFill>
                  <a:srgbClr val="00B050"/>
                </a:solidFill>
              </a:rPr>
              <a:t>13%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B03D4767-21AF-4BD1-9C92-3D7B36CF21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9055" y="4377508"/>
            <a:ext cx="986935" cy="881018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E06F051E-3DB8-4A95-85D8-53AA93714A24}"/>
              </a:ext>
            </a:extLst>
          </p:cNvPr>
          <p:cNvSpPr txBox="1"/>
          <p:nvPr/>
        </p:nvSpPr>
        <p:spPr>
          <a:xfrm>
            <a:off x="2745805" y="4124295"/>
            <a:ext cx="413396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it-IT" altLang="en-US" sz="1400" kern="0">
                <a:solidFill>
                  <a:prstClr val="black"/>
                </a:solidFill>
              </a:rPr>
              <a:t>TCR agendo come ‘Pool Owner’ di tutto il parco carelli bagagli ad OSL da aprile 2016 – dopo aver fatto esercizio di Sale and Rent back con i  proprietari individuali dei mezzi</a:t>
            </a:r>
          </a:p>
          <a:p>
            <a:pPr algn="just"/>
            <a:endParaRPr lang="it-IT" altLang="en-US" sz="400" kern="0">
              <a:solidFill>
                <a:prstClr val="black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it-IT" altLang="en-US" sz="1400" kern="0">
                <a:solidFill>
                  <a:prstClr val="black"/>
                </a:solidFill>
              </a:rPr>
              <a:t>Parco mezzi di 615 carelli</a:t>
            </a:r>
          </a:p>
          <a:p>
            <a:pPr algn="just"/>
            <a:endParaRPr lang="it-IT" altLang="en-US" sz="400" kern="0">
              <a:solidFill>
                <a:prstClr val="black"/>
              </a:solidFill>
            </a:endParaRP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FBE1CA85-0C90-40ED-99D6-12B5A1CEB764}"/>
              </a:ext>
            </a:extLst>
          </p:cNvPr>
          <p:cNvSpPr/>
          <p:nvPr/>
        </p:nvSpPr>
        <p:spPr>
          <a:xfrm rot="5400000">
            <a:off x="6879019" y="4729403"/>
            <a:ext cx="288032" cy="216024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1" name="Picture 25">
            <a:extLst>
              <a:ext uri="{FF2B5EF4-FFF2-40B4-BE49-F238E27FC236}">
                <a16:creationId xmlns:a16="http://schemas.microsoft.com/office/drawing/2014/main" id="{86F48400-C04C-4AFA-A5BC-1373389A12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397" y="5882499"/>
            <a:ext cx="1347788" cy="348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4FB64898-2723-46AE-A07E-789F9AB55CF4}"/>
              </a:ext>
            </a:extLst>
          </p:cNvPr>
          <p:cNvSpPr txBox="1"/>
          <p:nvPr/>
        </p:nvSpPr>
        <p:spPr>
          <a:xfrm>
            <a:off x="2713989" y="5506611"/>
            <a:ext cx="41339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it-IT" altLang="en-US" sz="1400" kern="0">
                <a:solidFill>
                  <a:prstClr val="black"/>
                </a:solidFill>
              </a:rPr>
              <a:t>Implementazione contratto pooling per carelli bagagli a DUS nel 2013 </a:t>
            </a:r>
            <a:endParaRPr lang="it-IT" altLang="en-US" sz="400" kern="0">
              <a:solidFill>
                <a:prstClr val="black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it-IT" altLang="en-US" sz="1400" kern="0">
                <a:solidFill>
                  <a:prstClr val="black"/>
                </a:solidFill>
              </a:rPr>
              <a:t>Totale di 540 Carelli inclusi nel Pool, sotto contratto noleggio operative complessivo</a:t>
            </a:r>
          </a:p>
          <a:p>
            <a:pPr algn="just"/>
            <a:endParaRPr lang="it-IT" altLang="en-US" sz="400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30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5C68AF3-6800-4568-AC14-C878DB960FC4}"/>
              </a:ext>
            </a:extLst>
          </p:cNvPr>
          <p:cNvSpPr/>
          <p:nvPr/>
        </p:nvSpPr>
        <p:spPr>
          <a:xfrm>
            <a:off x="9674942" y="945191"/>
            <a:ext cx="2035277" cy="4341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810" y="71414"/>
            <a:ext cx="10777012" cy="763200"/>
          </a:xfrm>
        </p:spPr>
        <p:txBody>
          <a:bodyPr>
            <a:normAutofit/>
          </a:bodyPr>
          <a:lstStyle/>
          <a:p>
            <a:r>
              <a:rPr lang="it-IT"/>
              <a:t>Sintesi di esperienze e sviluppi recenti e concret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773E1-9645-48F3-9513-6154753BDDA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A755178A-D14D-4CAB-8345-C1DB45B60EFE}"/>
              </a:ext>
            </a:extLst>
          </p:cNvPr>
          <p:cNvSpPr txBox="1">
            <a:spLocks/>
          </p:cNvSpPr>
          <p:nvPr/>
        </p:nvSpPr>
        <p:spPr>
          <a:xfrm>
            <a:off x="1529353" y="1379141"/>
            <a:ext cx="4883394" cy="400128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w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100000"/>
              </a:spcBef>
              <a:spcAft>
                <a:spcPct val="0"/>
              </a:spcAft>
            </a:pPr>
            <a:r>
              <a:rPr lang="it-IT" sz="1800" b="1">
                <a:solidFill>
                  <a:srgbClr val="0D337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erativi: </a:t>
            </a:r>
          </a:p>
          <a:p>
            <a:pPr marL="685800" lvl="1" eaLnBrk="0" fontAlgn="base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00" b="1">
                <a:solidFill>
                  <a:srgbClr val="0D337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dinburgh – 60</a:t>
            </a:r>
          </a:p>
          <a:p>
            <a:pPr marL="685800" lvl="1" eaLnBrk="0" fontAlgn="base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00" b="1">
                <a:solidFill>
                  <a:srgbClr val="0D337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alma de Mallorca – 10 </a:t>
            </a:r>
          </a:p>
          <a:p>
            <a:pPr marL="685800" lvl="1" eaLnBrk="0" fontAlgn="base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00" b="1">
                <a:solidFill>
                  <a:srgbClr val="0D337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ondon-Heathrow – 75 </a:t>
            </a:r>
          </a:p>
          <a:p>
            <a:pPr marL="685800" lvl="1" eaLnBrk="0" fontAlgn="base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00" b="1">
                <a:solidFill>
                  <a:srgbClr val="0D337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ondon-Gatwick – 265 </a:t>
            </a:r>
          </a:p>
          <a:p>
            <a:pPr marL="685800" lvl="1" eaLnBrk="0" fontAlgn="base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00" b="1">
                <a:solidFill>
                  <a:srgbClr val="0D337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London-Luton – 199 </a:t>
            </a:r>
          </a:p>
          <a:p>
            <a:pPr marL="400050" lvl="1" indent="0" eaLnBrk="0" fontAlgn="base" hangingPunct="0">
              <a:spcBef>
                <a:spcPts val="600"/>
              </a:spcBef>
              <a:spcAft>
                <a:spcPct val="0"/>
              </a:spcAft>
              <a:buNone/>
            </a:pPr>
            <a:endParaRPr lang="it-IT" sz="900" b="1">
              <a:solidFill>
                <a:srgbClr val="0D337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ts val="1200"/>
              </a:spcBef>
              <a:spcAft>
                <a:spcPct val="0"/>
              </a:spcAft>
            </a:pPr>
            <a:r>
              <a:rPr lang="it-IT" sz="1800" b="1">
                <a:solidFill>
                  <a:srgbClr val="0D337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mo/prove: 57 veicoli atrezzati (IT, MY, DK, BE, FR, ES)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15FA8BB-1885-4AE9-A622-640ECC17B597}"/>
              </a:ext>
            </a:extLst>
          </p:cNvPr>
          <p:cNvGrpSpPr/>
          <p:nvPr/>
        </p:nvGrpSpPr>
        <p:grpSpPr>
          <a:xfrm>
            <a:off x="1429800" y="968133"/>
            <a:ext cx="5118520" cy="5413002"/>
            <a:chOff x="6815996" y="1154638"/>
            <a:chExt cx="4971528" cy="824093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E129025-6583-4ED5-AE8C-280AC85151D2}"/>
                </a:ext>
              </a:extLst>
            </p:cNvPr>
            <p:cNvSpPr/>
            <p:nvPr/>
          </p:nvSpPr>
          <p:spPr bwMode="auto">
            <a:xfrm>
              <a:off x="6815996" y="1183294"/>
              <a:ext cx="4971528" cy="795437"/>
            </a:xfrm>
            <a:prstGeom prst="rect">
              <a:avLst/>
            </a:prstGeom>
            <a:noFill/>
            <a:ln w="9525" cap="flat" cmpd="sng" algn="ctr">
              <a:solidFill>
                <a:srgbClr val="3366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600"/>
                </a:spcBef>
                <a:tabLst>
                  <a:tab pos="180975" algn="l"/>
                </a:tabLst>
              </a:pPr>
              <a:endParaRPr lang="it-IT" sz="1400">
                <a:solidFill>
                  <a:srgbClr val="336699"/>
                </a:solidFill>
                <a:latin typeface="Calibri" panose="020F0502020204030204" pitchFamily="34" charset="0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FDB2381-8D4E-49A3-A069-E66DD395F884}"/>
                </a:ext>
              </a:extLst>
            </p:cNvPr>
            <p:cNvSpPr/>
            <p:nvPr/>
          </p:nvSpPr>
          <p:spPr bwMode="auto">
            <a:xfrm>
              <a:off x="6969988" y="1154638"/>
              <a:ext cx="1400690" cy="5198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b="1" i="0" u="none" strike="noStrike" cap="none" normalizeH="0" baseline="0">
                  <a:ln>
                    <a:noFill/>
                  </a:ln>
                  <a:solidFill>
                    <a:srgbClr val="00B0F0"/>
                  </a:solidFill>
                  <a:effectLst/>
                  <a:latin typeface="Calibri" panose="020F0502020204030204" pitchFamily="34" charset="0"/>
                </a:rPr>
                <a:t>Motorizzati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D53D0A2D-C52D-490B-A968-2EFF464C876E}"/>
              </a:ext>
            </a:extLst>
          </p:cNvPr>
          <p:cNvGrpSpPr/>
          <p:nvPr/>
        </p:nvGrpSpPr>
        <p:grpSpPr>
          <a:xfrm>
            <a:off x="6706865" y="954293"/>
            <a:ext cx="5118520" cy="5426842"/>
            <a:chOff x="6730583" y="604287"/>
            <a:chExt cx="4971528" cy="790845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4B94E610-C052-4CCA-AD15-D65474B14C20}"/>
                </a:ext>
              </a:extLst>
            </p:cNvPr>
            <p:cNvSpPr/>
            <p:nvPr/>
          </p:nvSpPr>
          <p:spPr bwMode="auto">
            <a:xfrm>
              <a:off x="6730583" y="633807"/>
              <a:ext cx="4971528" cy="761325"/>
            </a:xfrm>
            <a:prstGeom prst="rect">
              <a:avLst/>
            </a:prstGeom>
            <a:noFill/>
            <a:ln w="9525" cap="flat" cmpd="sng" algn="ctr">
              <a:solidFill>
                <a:srgbClr val="3366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600"/>
                </a:spcBef>
                <a:tabLst>
                  <a:tab pos="180975" algn="l"/>
                </a:tabLst>
              </a:pPr>
              <a:endParaRPr lang="it-IT" sz="1400">
                <a:solidFill>
                  <a:srgbClr val="336699"/>
                </a:solidFill>
                <a:latin typeface="Calibri" panose="020F0502020204030204" pitchFamily="34" charset="0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9E620A48-E49A-4800-A65A-04837F44808E}"/>
                </a:ext>
              </a:extLst>
            </p:cNvPr>
            <p:cNvSpPr/>
            <p:nvPr/>
          </p:nvSpPr>
          <p:spPr bwMode="auto">
            <a:xfrm>
              <a:off x="6902132" y="604287"/>
              <a:ext cx="1976829" cy="497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it-IT" b="1">
                  <a:solidFill>
                    <a:srgbClr val="00B0F0"/>
                  </a:solidFill>
                  <a:latin typeface="Calibri" panose="020F0502020204030204" pitchFamily="34" charset="0"/>
                </a:rPr>
                <a:t>Non-Motorizzati</a:t>
              </a:r>
            </a:p>
          </p:txBody>
        </p:sp>
      </p:grpSp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1288754C-642B-4052-8D45-CB17E3A6E8EB}"/>
              </a:ext>
            </a:extLst>
          </p:cNvPr>
          <p:cNvSpPr txBox="1">
            <a:spLocks/>
          </p:cNvSpPr>
          <p:nvPr/>
        </p:nvSpPr>
        <p:spPr bwMode="auto">
          <a:xfrm>
            <a:off x="6860318" y="1379141"/>
            <a:ext cx="4849901" cy="3636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10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w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it-IT" sz="1800" b="1">
                <a:solidFill>
                  <a:srgbClr val="0D3370"/>
                </a:solidFill>
                <a:cs typeface="Arial" panose="020B0604020202020204" pitchFamily="34" charset="0"/>
              </a:rPr>
              <a:t>Operativi: </a:t>
            </a:r>
          </a:p>
          <a:p>
            <a:pPr marL="685800" lvl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it-IT" sz="1600" b="1">
                <a:solidFill>
                  <a:srgbClr val="0D3370"/>
                </a:solidFill>
                <a:cs typeface="Arial" panose="020B0604020202020204" pitchFamily="34" charset="0"/>
              </a:rPr>
              <a:t>Edinburgh – 40 </a:t>
            </a:r>
          </a:p>
          <a:p>
            <a:pPr marL="685800" lvl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it-IT" sz="1600" b="1">
                <a:solidFill>
                  <a:srgbClr val="0D3370"/>
                </a:solidFill>
                <a:cs typeface="Arial" panose="020B0604020202020204" pitchFamily="34" charset="0"/>
              </a:rPr>
              <a:t>Manchester – 60 </a:t>
            </a:r>
          </a:p>
          <a:p>
            <a:pPr marL="400050" lvl="1" indent="0">
              <a:spcBef>
                <a:spcPts val="600"/>
              </a:spcBef>
              <a:buNone/>
            </a:pPr>
            <a:endParaRPr lang="it-IT" sz="900" b="1">
              <a:solidFill>
                <a:srgbClr val="0D3370"/>
              </a:solidFill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it-IT" sz="1800" b="1">
                <a:solidFill>
                  <a:srgbClr val="0D3370"/>
                </a:solidFill>
                <a:cs typeface="Arial" panose="020B0604020202020204" pitchFamily="34" charset="0"/>
              </a:rPr>
              <a:t>Demo/prove: 800 mezzi atrezzati (ES, DE, BE, DK, UK, MY)</a:t>
            </a:r>
          </a:p>
          <a:p>
            <a:pPr>
              <a:spcBef>
                <a:spcPts val="600"/>
              </a:spcBef>
            </a:pPr>
            <a:endParaRPr lang="it-IT" sz="1800" b="1">
              <a:solidFill>
                <a:srgbClr val="0D3370"/>
              </a:solidFill>
              <a:cs typeface="Arial" panose="020B0604020202020204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05D9BD0C-F924-40F1-A00B-E937D4F6BAC1}"/>
              </a:ext>
            </a:extLst>
          </p:cNvPr>
          <p:cNvPicPr>
            <a:picLocks noChangeAspect="1"/>
          </p:cNvPicPr>
          <p:nvPr/>
        </p:nvPicPr>
        <p:blipFill>
          <a:blip r:embed="rId2">
            <a:grayscl/>
          </a:blip>
          <a:stretch>
            <a:fillRect/>
          </a:stretch>
        </p:blipFill>
        <p:spPr>
          <a:xfrm>
            <a:off x="2089625" y="4588743"/>
            <a:ext cx="3711926" cy="1583362"/>
          </a:xfrm>
          <a:prstGeom prst="rect">
            <a:avLst/>
          </a:prstGeom>
        </p:spPr>
      </p:pic>
      <p:pic>
        <p:nvPicPr>
          <p:cNvPr id="87" name="Picture 2" descr="Afbeeldingsresultaat voor dollies ground support equipment">
            <a:extLst>
              <a:ext uri="{FF2B5EF4-FFF2-40B4-BE49-F238E27FC236}">
                <a16:creationId xmlns:a16="http://schemas.microsoft.com/office/drawing/2014/main" id="{3CF51436-E522-4ED0-9F39-1556478F31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87"/>
          <a:stretch/>
        </p:blipFill>
        <p:spPr bwMode="auto">
          <a:xfrm>
            <a:off x="7331361" y="4578058"/>
            <a:ext cx="3877413" cy="1594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7153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r7.iKTl0qG_3D8JQhq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Zxg87sPkGR2k21qf7Ug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F10FS2k0KfcEbDiA73K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ob4kMp0ydrfl9SmMl9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eTnkVAzkSKhx5mgXySU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2EYem9UyJobGXrLRT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g81MK3lEOWca3F5I_7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URozQy2UmEmJx6Wibwn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Pa2hCn.EKncEeBx1Yge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5fHFzZE0mSoNkdPB_FE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2MD5RIL0CnuNJMLT.OL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lqZXwKWkKhDcs4RPpH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LGyRPWSkabCdzkxe9fC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EiGKcbf0eMJRwuxxQRt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S.hAPVUEW8EWLIOvNg8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X1DYF8H0KHPUCdJB5s4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bcfyaYREGNPk2BxL9E7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2peCvTb02gI3V85_0gD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rVxzferUqBku5hkg_Z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U3W.XEuEmspL20OqMd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g52HVGGU2zQzxVaQ4uT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NeVQ1QnEOw2Iu.qrOR9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mASxbq.kK9WMvh3Weg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ayb0lI0uNH2VskOIa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twXE5YtEKauqtPj5I2x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fglXvipEaowuyieaQz9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Q5aVmA9kmjM3TziqSo5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G9cuOCk2jxYW99PlS6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xn0kGG9k6iROIPOR0PV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K758jsnEKHZqDrpgxhZ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toqjeK7U.f9CdJOBnc_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6xgYqBtk6.ylsKGt42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hTcgKZlEmo7en5.Kgdy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uUmL8NvE.Jx1KlBNSv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nl2BR.VUeC2_yXSTJL6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1npRXtpUqNiO6v6EuD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panfOUXEisl1XB93Hwp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BYZSDHHEaMAk4P4k6bY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tfZQVOg0a2ohA0wlOWh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yRysMCuEKbRFu7E4Gz8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L5ZEY2_0qOynU6NpnC6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LLrQvevkOY8ZSYfUs6k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ctyT_6hEuMDgBjvYHKU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b1L5xZNEegwbLMZ4j6h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VqBlgtLEai2J9vjS7X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UFQHcrPEaRIn.7DcCKW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YU7DUV_EidKbOIdx.kn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ksFreRg061es90gR4d6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DihwEjFUOcBCHTOVHeJ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yFboOR1kGI8.lT_PSOn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CFtmZVki2mFDPt9Ct6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Ur2BBHLEqAItJvfZgB_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WvIecEFE66yUWC5nAzF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sVIB_qS0uSlNqQwDxsB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Z0Fou47UevjLOfyLNB1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pl6lK3EEuOyzR74uTs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aHLno1T0yao5Jf8ZxEJ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XsoJKkTU.syiIJL2XjM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4cIs3a60G6A5Ea4YZ39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6G_fPepEW3dRBl9twUz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GY8W.y1kWK8t05GSgQ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ZJnWY2bEi2hsCqCGoA9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4TCYr5A0OuCdQLwkGl7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9dIhRYbkCBGMjlvqvFG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M5Uv.GrEy8QhPBJYlL1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j7CDKgY0KB1dqGiknQf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6eHdLa80C8cdE815Fq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MF5PWjmUavy42UM1fWk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SHy7NPQEC7StiF4CR8R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V.DCXxaEKsf5KoAoggP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AxE3Pl_0ed.lr4Jt.Fa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.x4gD.F0y_wURB_jicg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14Z4fZk0W1U5pgPyTLm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8EJGW4LE.iFELv7DqoI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hBxYw1iU.tvZ04gOPW8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iwY2PS90mQN_jtevrkJ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4B2GYrL0qWpVFReoDgQ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8G3Db402TwovKdkK5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Fk3TKdIEiy9mifWsRi1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3LT59LrE69I9NsEpW_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d3O.kE802rxhlL1jSlP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qOgRpqHUuft8_OvCHH9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F59VqLpEq986l7jExrU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2dvVGFNkm9MWK.RmPLn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sGT5lqtUy8cnIsfxOcW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FNXBhexk62yIrTZab2M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.IKsGKkEGiBZlo55KuB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YvCkSn2k.ZulRoDjpVX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edngyZfEmIVoyI.WW59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DxZgn9ECSM.G2Ih6P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TFkxoE6UWHgtF90Dt1R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9V2PYRZ0WFlWOjUidFr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z_jHnklEC0E_vXXhvLG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qWYdtkukmhXWczoVbtq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rIzcu2kGumODVqAqdF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sGVALEsUqvk7aAEWOKn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M9WLRUIUKfIE8ZxRLuJ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0seMuAyU60eI8ZhlKxN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sRLV5zNku.iOZ_UhDIQ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kzsnP0LE2a3_rWwTRU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D.valAXkO0sJnjQTDb1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Im8HAxo0aMmQtaoYwng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WD7aPW.02UPsqktFdz1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o6x63Ziki8JoPsfFbjU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4HUwfE.0ukRJ38ISTe.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fUaficqkG9_uool7fob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sXQ2yEoE6OLk4hclF9U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idtQcs50GRK.x6vt26P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RCCtAmVkqI3NG7hw_0G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IZgilE.EypLeXLe6KI8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eVAZALQUuVdVB7Edtv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rFRvaBwU..ri9BRVfSS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pziwZxzkm3u9Q2apucE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o.ZaNFDkmtvBqIN8ZOv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yU9ZcUVUKoWSBwLq2WG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fZ7NoaQEmHv5LneYCCS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IycDe97kKnlrjuu1mXn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gdqnXN7U.hlodRpcJeG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iMlu0DGkGYs7BHdNH5O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XIXnHW0uR95sNncXt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vmBwFEaUuAIIK2ZTX4T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Zxrp6wrUeQcURxdvEiN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z9ixijR0adMW.2eToM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GJBjKEhEWJCuA7LcSN3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xvWUulaUSAQVbleQBcF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VnEUrcFEiMyp9lAHoXW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V4wszKdUiiTV_.Rrefm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9g.EukRESbxjkclWIzf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OmUzqBSUqEV_Z49G_Hr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AqQqIVW0KzyVjnPBx_o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xAZRLQsk66gdgYAit5Z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0DyEYNFkKscopXhRGb3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VzHEvr00S_hGJe2Y_o9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uC3Ug8lkWQNtFe.yBJ8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CjkQjeRUGQdVZu54Yg1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rmKulClEOfhXyUrzC9p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MrijMwlU.RkkMbHUhtZ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wFGfKgc0Gyv_7x21cUZ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etjrGP7UONKLUMEQn1c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r8FjdfxkGnTiz7Vvwxi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lUP.mzkyjYC7GY3pps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8TK1ixxk.YGEllD3Ft1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OuomWX4EWGqwnW5Woq9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qiTlw.kOZNd4Jf3jPi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08oi._T0S0VMEJFVNY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7onVyPKESHLlVi1njwL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feop2MlU2V6f5qt61rE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gRYsI_d0SsczmX57cgw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OrRvB1a0CjJAgArPpAn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w1f.BKCEmy5.B6lj3dC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U0dh2zdkaC8DNA3OLGC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GZLpCFk06FpxinMxNya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mhQvwcJkWAtYh6xicTs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LFMjYrxkG6.BGsNgCzO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sB9t8_.0OXgMrZvXIFg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KD7iAuMEukVKN.Qfrw8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Y2LKxt50WxCeFCB5MG9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i7pPtNBEyCyugbjQLui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8L6tdT2k2cOKFm4.EX3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BSnBSk_kO2bEauM_cFr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v5YxNmE026a9J4COAG1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nGr2W9HkK6wAkgOMDmC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kVWkbgJEC.sxY3aYk1m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rd0oTJHEyytgYXIcPor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XpBkOiPE6NkvdILXrmo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_o6sZtzUGnefk.vTDVH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Oj_s4jxU2zOnRa_nir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DYLnfk0qMgFnGUcMnP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AxShPYVESM5.GFLCBtI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H5cHRQp06ssyIF8VAeH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dhUq66sU.e9_f7TV4a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DeT2mhDUmVWL6UoCn3d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naaDdOf0Cx_Dez08nqm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muLxB04kuN9XzoMKDCo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x_SXuTMkKs87NPKJ8Nq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kttmd1UOk._MgeAIJq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jtb4PK0WTQSQPYRRXB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JgANjIZUmf2Z9wkan5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OaVtbFq0OrzyBxlluvc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FezY1GDUGIq89VoPZHj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mA7I8F_0S5aRp8kGX7Z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oV587V9ki5KKtCqQ9x5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.8Mh19UUaehCqp1ltWd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U4aP1G20CtQkfs2TPs8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UN1.SOw0622UNoQzqcz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1RnlUqw0C4onjwcHYjr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vFl0ZL.E.8k6UEyisUL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JmHvEjE0.UkTfb.pG5f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IXzO.k.E.pbU2z.ugH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7qv1gDY0mJo4dVH4WIs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C248mOGUGDGteF2XtKu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wlGX_9JEKzYZxxFPNZ2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xA.6kZTkihSQG9u9Q90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gW23o4d0CsGXnlyN_AE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95FWHk0OiTFMDG3ZMW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aIfjvApki8RL1MlMwKS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zVIj77Hk6Vu0CdJJrco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I3WbckaE6pf73N3LIRb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A6LIQ6_E.zwNPlp4KM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vOvTR2H0Chp509P5iT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3N7dFdy0mmObSO6Ubsh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giPCRJLkui0w8GA8q6H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WX7t5s.ke7zdyfpn0kk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1.8kHu0EqO89d9CF.oj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pLieRrE6JVLGawztQz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y8eoKTMkufFIUDgeZIq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nfsZpza06uwz6KEjnNr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lYyA99QUG5IR7cgU_Oc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stuGMZWE69BpaU.GQpq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PB9viHkaZKMtaN8b.D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257Wudl0Cl4t5lMM3G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9VQT1V9UeYhcAPPjjST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93730oVkicRRbBfU.Yo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S5pPAD5ky4woqkHtkHM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2p.h5IP0WTSNnyT4LZq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7odbFm30SyCLQxTGUNP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7v4pfobkW_2BZv9P740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25j5w8ZEiIYRYtq2XwF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ghBCyGzUOMX3179spdo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HPmvAu50a7em7jkNeOw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RYJI2R70q8mNbydNeGM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0AGwWf5Emw0RjxaSZk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JnpoOG0Em1QWHQvMI3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XbCjdYQ0OdoS6i4ZwtW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fuBS3IHk2cU5al9LR2v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EmrcsM_0uT2ZoXBxWIZ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OQ0i.zQkKlP9Pl9xw.4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7tYBndZUqneblmsnYti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OxIfn1YESId4ruwG1lx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rao2jtsk2WY.tD7a3jV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Z_Av27gUimpNzZWGPeS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.oImGv7UeuLSaPffhfB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gGrctpuECnOZSegHbCt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Ss4fTKI0iBaQDQNPlH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a6rrKLq0qZvyzEwFwHm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cnZX7zVE.3MbPWJ3KdN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._pnUQckecsUB9ExQTB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fPIgEG7km2NG1s7cIOv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CKeNf8aUiA5wI8N2Boi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67nEzI6UaKJ2f3OKFvL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BPmxsDa0eSzlR7L.h9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WlKLYTNUynKOCD_QMt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VivpMB60.b57sV2Pni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INoCRdeEWMtMtIm6PS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vk7NcwpECuZzlDdiYM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MiIXVRTUipq3JORwLW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rHr6BwoUexCrNYKlXy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dOvIbCK0qXTP8m1EUt.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tQWVomkS.B9b5OUpB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fItiMewUqGMEkirSpLT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Oywl60q0.wqRzsvlC4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In3F6CAE.gP8R68Zs5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RFropa0kqy8O6cS3O2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ad0NNk8EqK.AYWpWL1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WZVir0xk2l_eEq.q7Y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4abOIbXU6.wNpHisdz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6cVS6alE6_xTrPGMCO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p.z1uRgkqplrdO7dmdS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ocCqyCRkyEo8E00OjDS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BM64aTN0ack.ub2XQO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vGdmLj1kSbuIhACYbn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HN.I0a30aObItRQx4J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PkcuKX0UmFg5qdvCJ9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BNQcyE0kCA7JLceijnF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Cg5Ru8uEmAaUFN3RHL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D2u30pW0.LTFR_hv9C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IwnBC2l02iDAXDoGZz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mslMDzk6M51ZirSFWC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c36P0PXEGxO7smuqR3d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vQMgRBa06jaLJQUBvck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zSEJAC3UyiGUZM0fQu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aLDqeYsk6IfyvDAORz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acYA88qkmftImZzO7m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tEX9.tak6DSxdX3mL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GEcFoqDkWyjifWDfGJG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oPc7ymZEWrUsB.odJu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9YAsOfhES17PgGhM931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dSeoe5H0qcGiyppql0t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1IdK.cyEGID5tOh6AOq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YSAb73fU22FxpYN5q5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RUnnqwPUapG37bzJJDs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McTmpw10SFbvhlTwM.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OCgjIPeUCeW8z1_iWVc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8.ce2WO0av_yfhbT9y7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O2hmBt1U6banQmX7bWa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z_LHeOzEeY9sLVDa5V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49h8zA5UmNwdfwIM3D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B.BJKtckS2.DAuTKJq0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yOLICaEeI9U4_soyay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dFKx_eCkyH8kzngl5h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tBwjHn50auSmfV4UIOR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JqOM1koEG1dPvRZ3E6B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mwZoxVQkebqyxFN5vo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jDBYYbzEeMkw5opg16q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PGSkph4UupBvaOc4Kh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r1dMpLV0.WG8Qos4dsB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h3M936VEKFm7A4ql5N.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ExL_SE1UiUZZJGsLyF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2Y2wDmG0WYUvtxNWk09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YGUxP8hkOCS8ML16RV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s4aoDrkESy2W7mexAuv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s8iX6bDkOHRs5Gwwwk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zCVZEeN0u3Uq6hhht6I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mdODQSLUmtjJSSdA3A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Jc2_TD9UqymgWZPUdJR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wDIgE13UibQ8hkQOQ8Z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YVu_k_JUSJTXYk6d8D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zsDZaYVEyufRS15Ovp5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IfYsPc0yhWsL2hj1I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ojG4P6mUq9kVdtNPFQi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d5pqMiaE.0CxIEGof2O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3N8qTyrkKIo0Fg1Z7qP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0tlFPJtESthmRDxjijT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Qkqa4cy0OHkjdKWJEb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TCwKB5Fk6rHbPLSYhTog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CR-Group EN UK 43 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 algn="just">
          <a:buFont typeface="Wingdings" panose="05000000000000000000" pitchFamily="2" charset="2"/>
          <a:buChar char="§"/>
          <a:defRPr sz="12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16-9" id="{18BABDED-C88C-4584-9582-CAF9347887BE}" vid="{F180D87F-3BEC-46DA-8E7D-55F86A97623C}"/>
    </a:ext>
  </a:extLst>
</a:theme>
</file>

<file path=ppt/theme/theme3.xml><?xml version="1.0" encoding="utf-8"?>
<a:theme xmlns:a="http://schemas.openxmlformats.org/drawingml/2006/main" name="1_TCR-Group EN UK 43 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 algn="just">
          <a:buFont typeface="Wingdings" panose="05000000000000000000" pitchFamily="2" charset="2"/>
          <a:buChar char="§"/>
          <a:defRPr sz="12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16-9" id="{18BABDED-C88C-4584-9582-CAF9347887BE}" vid="{F180D87F-3BEC-46DA-8E7D-55F86A97623C}"/>
    </a:ext>
  </a:extLst>
</a:theme>
</file>

<file path=ppt/theme/theme4.xml><?xml version="1.0" encoding="utf-8"?>
<a:theme xmlns:a="http://schemas.openxmlformats.org/drawingml/2006/main" name="2_TCR-Group EN UK 43 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 algn="just">
          <a:buFont typeface="Wingdings" panose="05000000000000000000" pitchFamily="2" charset="2"/>
          <a:buChar char="§"/>
          <a:defRPr sz="12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16-9" id="{18BABDED-C88C-4584-9582-CAF9347887BE}" vid="{F180D87F-3BEC-46DA-8E7D-55F86A97623C}"/>
    </a:ext>
  </a:extLst>
</a:theme>
</file>

<file path=ppt/theme/theme5.xml><?xml version="1.0" encoding="utf-8"?>
<a:theme xmlns:a="http://schemas.openxmlformats.org/drawingml/2006/main" name="4_TCR-Group EN UK 43 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 algn="just">
          <a:buFont typeface="Wingdings" panose="05000000000000000000" pitchFamily="2" charset="2"/>
          <a:buChar char="§"/>
          <a:defRPr sz="12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16-9" id="{18BABDED-C88C-4584-9582-CAF9347887BE}" vid="{F180D87F-3BEC-46DA-8E7D-55F86A97623C}"/>
    </a:ext>
  </a:extLst>
</a:theme>
</file>

<file path=ppt/theme/theme6.xml><?xml version="1.0" encoding="utf-8"?>
<a:theme xmlns:a="http://schemas.openxmlformats.org/drawingml/2006/main" name="6_TCR-Group EN UK 43 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 algn="just">
          <a:buFont typeface="Wingdings" panose="05000000000000000000" pitchFamily="2" charset="2"/>
          <a:buChar char="§"/>
          <a:defRPr sz="12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16-9" id="{18BABDED-C88C-4584-9582-CAF9347887BE}" vid="{F180D87F-3BEC-46DA-8E7D-55F86A97623C}"/>
    </a:ext>
  </a:extLst>
</a:theme>
</file>

<file path=ppt/theme/theme7.xml><?xml version="1.0" encoding="utf-8"?>
<a:theme xmlns:a="http://schemas.openxmlformats.org/drawingml/2006/main" name="7_TCR-Group EN UK 43 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 algn="just">
          <a:buFont typeface="Wingdings" panose="05000000000000000000" pitchFamily="2" charset="2"/>
          <a:buChar char="§"/>
          <a:defRPr sz="12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16-9" id="{18BABDED-C88C-4584-9582-CAF9347887BE}" vid="{F180D87F-3BEC-46DA-8E7D-55F86A97623C}"/>
    </a:ext>
  </a:extLst>
</a:theme>
</file>

<file path=ppt/theme/theme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35</Words>
  <Application>Microsoft Office PowerPoint</Application>
  <PresentationFormat>Widescreen</PresentationFormat>
  <Paragraphs>164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10</vt:i4>
      </vt:variant>
    </vt:vector>
  </HeadingPairs>
  <TitlesOfParts>
    <vt:vector size="24" baseType="lpstr">
      <vt:lpstr>Arial</vt:lpstr>
      <vt:lpstr>Calibri</vt:lpstr>
      <vt:lpstr>Calibri Light</vt:lpstr>
      <vt:lpstr>Roboto Condensed</vt:lpstr>
      <vt:lpstr>Times New Roman</vt:lpstr>
      <vt:lpstr>Verdana</vt:lpstr>
      <vt:lpstr>Wingdings</vt:lpstr>
      <vt:lpstr>Tema di Office</vt:lpstr>
      <vt:lpstr>TCR-Group EN UK 43 01</vt:lpstr>
      <vt:lpstr>1_TCR-Group EN UK 43 01</vt:lpstr>
      <vt:lpstr>2_TCR-Group EN UK 43 01</vt:lpstr>
      <vt:lpstr>4_TCR-Group EN UK 43 01</vt:lpstr>
      <vt:lpstr>6_TCR-Group EN UK 43 01</vt:lpstr>
      <vt:lpstr>7_TCR-Group EN UK 43 01</vt:lpstr>
      <vt:lpstr>PowerPoint Presentation</vt:lpstr>
      <vt:lpstr>Introduzione</vt:lpstr>
      <vt:lpstr>TCR in numeri</vt:lpstr>
      <vt:lpstr>Presenza geografica</vt:lpstr>
      <vt:lpstr>Vantaggi della telematica sul GSE</vt:lpstr>
      <vt:lpstr>Funzionalità della telematica per mezzi motorizzati</vt:lpstr>
      <vt:lpstr>Funzionalità della telematica per mezzi non motorizzati</vt:lpstr>
      <vt:lpstr>La telematica è un elemento chiave che stabilisce la base per il pooling e l'uso in comune di GSE</vt:lpstr>
      <vt:lpstr>Sintesi di esperienze e sviluppi recenti e concreti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silvia.salemi@targaubiest.com</dc:creator>
  <cp:lastModifiedBy>Wattinne, Victoria</cp:lastModifiedBy>
  <cp:revision>1097</cp:revision>
  <cp:lastPrinted>2018-03-06T15:22:50Z</cp:lastPrinted>
  <dcterms:created xsi:type="dcterms:W3CDTF">2016-05-05T10:46:02Z</dcterms:created>
  <dcterms:modified xsi:type="dcterms:W3CDTF">2018-11-30T16:13:11Z</dcterms:modified>
</cp:coreProperties>
</file>